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7"/>
  </p:notesMasterIdLst>
  <p:sldIdLst>
    <p:sldId id="270" r:id="rId5"/>
    <p:sldId id="2147482354" r:id="rId6"/>
    <p:sldId id="2147482360" r:id="rId7"/>
    <p:sldId id="2147482369" r:id="rId8"/>
    <p:sldId id="2147482364" r:id="rId9"/>
    <p:sldId id="2147482363" r:id="rId10"/>
    <p:sldId id="317" r:id="rId11"/>
    <p:sldId id="2147482367" r:id="rId12"/>
    <p:sldId id="2147482368" r:id="rId13"/>
    <p:sldId id="2147482393" r:id="rId14"/>
    <p:sldId id="312" r:id="rId15"/>
    <p:sldId id="2147482382" r:id="rId16"/>
    <p:sldId id="2147482394" r:id="rId17"/>
    <p:sldId id="316" r:id="rId18"/>
    <p:sldId id="2147482395" r:id="rId19"/>
    <p:sldId id="2147482400" r:id="rId20"/>
    <p:sldId id="305" r:id="rId21"/>
    <p:sldId id="2147482384" r:id="rId22"/>
    <p:sldId id="2147482396" r:id="rId23"/>
    <p:sldId id="2147482378" r:id="rId24"/>
    <p:sldId id="2147482397" r:id="rId25"/>
    <p:sldId id="2147482401" r:id="rId26"/>
    <p:sldId id="300" r:id="rId27"/>
    <p:sldId id="2147482398" r:id="rId28"/>
    <p:sldId id="2147482386" r:id="rId29"/>
    <p:sldId id="2147482399" r:id="rId30"/>
    <p:sldId id="2147482402" r:id="rId31"/>
    <p:sldId id="2147482387" r:id="rId32"/>
    <p:sldId id="2147482347" r:id="rId33"/>
    <p:sldId id="283" r:id="rId34"/>
    <p:sldId id="266" r:id="rId35"/>
    <p:sldId id="280" r:id="rId36"/>
  </p:sldIdLst>
  <p:sldSz cx="12192000" cy="6858000"/>
  <p:notesSz cx="6858000" cy="9144000"/>
  <p:custDataLst>
    <p:tags r:id="rId38"/>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56E45E3A-F62D-9C43-A0A0-76188C7219DC}">
          <p14:sldIdLst>
            <p14:sldId id="270"/>
            <p14:sldId id="2147482354"/>
            <p14:sldId id="2147482360"/>
            <p14:sldId id="2147482369"/>
            <p14:sldId id="2147482364"/>
            <p14:sldId id="2147482363"/>
            <p14:sldId id="317"/>
            <p14:sldId id="2147482367"/>
            <p14:sldId id="2147482368"/>
            <p14:sldId id="2147482393"/>
            <p14:sldId id="312"/>
            <p14:sldId id="2147482382"/>
            <p14:sldId id="2147482394"/>
            <p14:sldId id="316"/>
            <p14:sldId id="2147482395"/>
            <p14:sldId id="2147482400"/>
            <p14:sldId id="305"/>
            <p14:sldId id="2147482384"/>
            <p14:sldId id="2147482396"/>
            <p14:sldId id="2147482378"/>
            <p14:sldId id="2147482397"/>
            <p14:sldId id="2147482401"/>
            <p14:sldId id="300"/>
            <p14:sldId id="2147482398"/>
            <p14:sldId id="2147482386"/>
            <p14:sldId id="2147482399"/>
            <p14:sldId id="2147482402"/>
            <p14:sldId id="2147482387"/>
            <p14:sldId id="2147482347"/>
            <p14:sldId id="283"/>
            <p14:sldId id="266"/>
            <p14:sldId id="28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ABA6723-4ADF-A384-2EF1-EA73D94E0DA0}" name="Ulla Jensen" initials="UJ" userId="S::uje@domea.dk::9f08d654-f16e-4e37-932e-b650d83c4d02" providerId="AD"/>
  <p188:author id="{C049C73D-CAD7-0091-D0EF-9F1AC76CBD47}" name="Nanna Bay Sønderbæk" initials="NS" userId="S::nanna.bay_ramboll.com#ext#@domeadk.onmicrosoft.com::419e9d63-2a90-49f0-abc6-fa14bf67aabc" providerId="AD"/>
  <p188:author id="{50AB2B4F-4208-75A2-C1EB-823036C55448}" name="Ea Johansen" initials="EJ" userId="S::ejo@venzo.com::941635d2-8680-4beb-b358-8b4ff8c13e7f" providerId="AD"/>
  <p188:author id="{6162575C-AE88-C58D-D025-F1966F325B03}" name="Maria Hyllehøj" initials="MH" userId="S::mahy@domea.dk::3ac3bf3f-fed0-4c90-82f1-10d83be77ef4" providerId="AD"/>
  <p188:author id="{4F9C4A5D-68AF-E8A1-3B7E-41D8F3D81F09}" name="Mads Østerby" initials="MØ" userId="S::mao@ramboll.com::be4353e0-b597-4d50-ab7e-a7e312cb7a3c" providerId="AD"/>
  <p188:author id="{E5840B65-2440-9B39-DB1A-414DAFCD5AC9}" name="Julie Plesner Thomsen" initials="JPT" userId="S::jut@venzo.com::b57990ff-7c9a-49be-8d57-e62f9c41c990" providerId="AD"/>
  <p188:author id="{26CFD772-AF18-5292-C390-C65BE2F12092}" name="Nanna Bay Tom-Petersen" initials="NT" userId="S::nanna.bay@ramboll.com::723d9e2f-acd8-4ffe-9250-b5a51a2c27ab" providerId="AD"/>
  <p188:author id="{708367BA-B4E7-1E8A-C090-9013B17D85A1}" name="Caroline Moosgaard Nielsen" initials="CM" userId="S::cam@venzo.com::fb9c0e9b-a3bf-42ca-b744-d83ee6d624f3" providerId="AD"/>
  <p188:author id="{148321D6-0175-A2B4-50EE-3454BA411CDA}" name="Anne Sofie Madsen" initials="AS" userId="S::ANSMA@ramboll.com::4d5dc578-a8dc-4a42-b4ff-116a7609753a" providerId="AD"/>
  <p188:author id="{27B0BEDF-26BA-7323-8DC9-345BF8EBFBF3}" name="Christine Lunde Rasmussen" initials="CR" userId="S::chlu@ramboll.com::2a2bad2f-d0be-4197-814a-0f7e80be61f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7A2BD"/>
    <a:srgbClr val="242E5E"/>
    <a:srgbClr val="339C91"/>
    <a:srgbClr val="EF3F50"/>
    <a:srgbClr val="FCD9DC"/>
    <a:srgbClr val="FDDADC"/>
    <a:srgbClr val="165047"/>
    <a:srgbClr val="E63D4D"/>
    <a:srgbClr val="E0E3EB"/>
    <a:srgbClr val="B5CE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219AF1-D91E-4BC3-A7BA-EC0C05DAC266}" v="1" dt="2025-10-17T21:28:16.841"/>
    <p1510:client id="{42256572-8B38-4F1F-843C-98071ECC0933}" v="38" dt="2025-10-17T11:00:37.548"/>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08" autoAdjust="0"/>
    <p:restoredTop sz="90641" autoAdjust="0"/>
  </p:normalViewPr>
  <p:slideViewPr>
    <p:cSldViewPr snapToGrid="0">
      <p:cViewPr varScale="1">
        <p:scale>
          <a:sx n="57" d="100"/>
          <a:sy n="57" d="100"/>
        </p:scale>
        <p:origin x="752"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47F057-8D92-8248-84CA-5468276F38B5}" type="datetimeFigureOut">
              <a:rPr lang="da-DK" smtClean="0"/>
              <a:t>07-11-2025</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6A5193-C6A8-2949-8CF6-26AAB01E5B92}" type="slidenum">
              <a:rPr lang="da-DK" smtClean="0"/>
              <a:t>‹nr.›</a:t>
            </a:fld>
            <a:endParaRPr lang="da-DK"/>
          </a:p>
        </p:txBody>
      </p:sp>
    </p:spTree>
    <p:extLst>
      <p:ext uri="{BB962C8B-B14F-4D97-AF65-F5344CB8AC3E}">
        <p14:creationId xmlns:p14="http://schemas.microsoft.com/office/powerpoint/2010/main" val="27516703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66A5193-C6A8-2949-8CF6-26AAB01E5B92}" type="slidenum">
              <a:rPr lang="da-DK" smtClean="0"/>
              <a:t>1</a:t>
            </a:fld>
            <a:endParaRPr lang="da-DK"/>
          </a:p>
        </p:txBody>
      </p:sp>
    </p:spTree>
    <p:extLst>
      <p:ext uri="{BB962C8B-B14F-4D97-AF65-F5344CB8AC3E}">
        <p14:creationId xmlns:p14="http://schemas.microsoft.com/office/powerpoint/2010/main" val="2190548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3BBAF-D31C-75DE-0911-0EC7701B563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7A2B3513-BE26-5E70-334B-0EAEB2B51891}"/>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F6C7DCBB-C5FC-0A62-1AE0-9330747694F7}"/>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D8D6C60F-C157-6758-B1DA-6E785DE84C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6A5193-C6A8-2949-8CF6-26AAB01E5B92}"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16061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45D87-E548-9F47-9D7F-C0888441233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AA66D607-0815-4FCA-A29E-C7D7AAA500F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382C54F-818D-0B1D-3DE7-4139E78829EE}"/>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D2E48CC7-5E3B-9675-5CF1-4F81B78C7E54}"/>
              </a:ext>
            </a:extLst>
          </p:cNvPr>
          <p:cNvSpPr>
            <a:spLocks noGrp="1"/>
          </p:cNvSpPr>
          <p:nvPr>
            <p:ph type="sldNum" sz="quarter" idx="5"/>
          </p:nvPr>
        </p:nvSpPr>
        <p:spPr/>
        <p:txBody>
          <a:bodyPr/>
          <a:lstStyle/>
          <a:p>
            <a:fld id="{066A5193-C6A8-2949-8CF6-26AAB01E5B92}" type="slidenum">
              <a:rPr lang="da-DK" smtClean="0"/>
              <a:t>24</a:t>
            </a:fld>
            <a:endParaRPr lang="da-DK"/>
          </a:p>
        </p:txBody>
      </p:sp>
    </p:spTree>
    <p:extLst>
      <p:ext uri="{BB962C8B-B14F-4D97-AF65-F5344CB8AC3E}">
        <p14:creationId xmlns:p14="http://schemas.microsoft.com/office/powerpoint/2010/main" val="2926425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A1785-50B1-CBD4-75C4-A9E03E06DAC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182C888-0C14-06F5-8ACF-77CE01EC467F}"/>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76EF5D0-B7BD-4F4E-76CB-96FA1F915218}"/>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C83BE309-C133-9D42-C899-6BB082E84B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6A5193-C6A8-2949-8CF6-26AAB01E5B92}"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61556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66A5193-C6A8-2949-8CF6-26AAB01E5B92}" type="slidenum">
              <a:rPr lang="da-DK" smtClean="0"/>
              <a:t>31</a:t>
            </a:fld>
            <a:endParaRPr lang="da-DK"/>
          </a:p>
        </p:txBody>
      </p:sp>
    </p:spTree>
    <p:extLst>
      <p:ext uri="{BB962C8B-B14F-4D97-AF65-F5344CB8AC3E}">
        <p14:creationId xmlns:p14="http://schemas.microsoft.com/office/powerpoint/2010/main" val="2611731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8DB50-449A-2170-78E8-7CFCAACBED1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4452932-77AF-6DFC-89DA-B5F32DD14FC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CCC245D-B0D1-8505-C764-7E54A73B5255}"/>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DFA0C3B-02C6-CB20-0BD2-9A78F4F8D34A}"/>
              </a:ext>
            </a:extLst>
          </p:cNvPr>
          <p:cNvSpPr>
            <a:spLocks noGrp="1"/>
          </p:cNvSpPr>
          <p:nvPr>
            <p:ph type="sldNum" sz="quarter" idx="5"/>
          </p:nvPr>
        </p:nvSpPr>
        <p:spPr/>
        <p:txBody>
          <a:bodyPr/>
          <a:lstStyle/>
          <a:p>
            <a:fld id="{066A5193-C6A8-2949-8CF6-26AAB01E5B92}" type="slidenum">
              <a:rPr lang="da-DK" smtClean="0"/>
              <a:t>7</a:t>
            </a:fld>
            <a:endParaRPr lang="da-DK"/>
          </a:p>
        </p:txBody>
      </p:sp>
    </p:spTree>
    <p:extLst>
      <p:ext uri="{BB962C8B-B14F-4D97-AF65-F5344CB8AC3E}">
        <p14:creationId xmlns:p14="http://schemas.microsoft.com/office/powerpoint/2010/main" val="8546795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887157-E154-5D1B-CAA4-3BD1F070AB8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6E890BC-C543-FD45-9AC9-865255644536}"/>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1590DE48-D89E-5EF5-7367-532AC3CBE915}"/>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1C14D30-FB98-8F4C-EA6E-E667C5FF820F}"/>
              </a:ext>
            </a:extLst>
          </p:cNvPr>
          <p:cNvSpPr>
            <a:spLocks noGrp="1"/>
          </p:cNvSpPr>
          <p:nvPr>
            <p:ph type="sldNum" sz="quarter" idx="5"/>
          </p:nvPr>
        </p:nvSpPr>
        <p:spPr/>
        <p:txBody>
          <a:bodyPr/>
          <a:lstStyle/>
          <a:p>
            <a:fld id="{066A5193-C6A8-2949-8CF6-26AAB01E5B92}" type="slidenum">
              <a:rPr lang="da-DK" smtClean="0"/>
              <a:t>8</a:t>
            </a:fld>
            <a:endParaRPr lang="da-DK"/>
          </a:p>
        </p:txBody>
      </p:sp>
    </p:spTree>
    <p:extLst>
      <p:ext uri="{BB962C8B-B14F-4D97-AF65-F5344CB8AC3E}">
        <p14:creationId xmlns:p14="http://schemas.microsoft.com/office/powerpoint/2010/main" val="405403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62563-7C3B-465B-7243-8D1C24EB0E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94D30C-B85D-4629-34CE-A1298CF342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341579-8553-3ADF-5988-738B46EB2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A61A904-8E76-9BFB-1917-29F42CE0AF72}"/>
              </a:ext>
            </a:extLst>
          </p:cNvPr>
          <p:cNvSpPr>
            <a:spLocks noGrp="1"/>
          </p:cNvSpPr>
          <p:nvPr>
            <p:ph type="sldNum" sz="quarter" idx="5"/>
          </p:nvPr>
        </p:nvSpPr>
        <p:spPr/>
        <p:txBody>
          <a:bodyPr/>
          <a:lstStyle/>
          <a:p>
            <a:fld id="{066A5193-C6A8-2949-8CF6-26AAB01E5B92}" type="slidenum">
              <a:rPr lang="da-DK" smtClean="0"/>
              <a:t>10</a:t>
            </a:fld>
            <a:endParaRPr lang="da-DK"/>
          </a:p>
        </p:txBody>
      </p:sp>
    </p:spTree>
    <p:extLst>
      <p:ext uri="{BB962C8B-B14F-4D97-AF65-F5344CB8AC3E}">
        <p14:creationId xmlns:p14="http://schemas.microsoft.com/office/powerpoint/2010/main" val="1621147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3263CB-1EA4-075E-6320-9C17AA275EA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F188BE8-57AB-93B2-6648-70932FC5B73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082DE99-E06D-59DA-A0FC-540981116127}"/>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19B45477-882D-113F-6BCC-F3EB1B70BE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6A5193-C6A8-2949-8CF6-26AAB01E5B92}"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5509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3652A-10BD-F060-D778-47DF029E508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B3301E19-D6CC-57E2-E44E-B2CCC0FB48E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8A63FA2-5183-D33C-7D25-7C35EFC4E650}"/>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A97F925-84C7-7376-3A30-E9424D17CA2A}"/>
              </a:ext>
            </a:extLst>
          </p:cNvPr>
          <p:cNvSpPr>
            <a:spLocks noGrp="1"/>
          </p:cNvSpPr>
          <p:nvPr>
            <p:ph type="sldNum" sz="quarter" idx="5"/>
          </p:nvPr>
        </p:nvSpPr>
        <p:spPr/>
        <p:txBody>
          <a:bodyPr/>
          <a:lstStyle/>
          <a:p>
            <a:fld id="{066A5193-C6A8-2949-8CF6-26AAB01E5B92}" type="slidenum">
              <a:rPr lang="da-DK" smtClean="0"/>
              <a:t>12</a:t>
            </a:fld>
            <a:endParaRPr lang="da-DK"/>
          </a:p>
        </p:txBody>
      </p:sp>
    </p:spTree>
    <p:extLst>
      <p:ext uri="{BB962C8B-B14F-4D97-AF65-F5344CB8AC3E}">
        <p14:creationId xmlns:p14="http://schemas.microsoft.com/office/powerpoint/2010/main" val="1031523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1E0C4-E15C-B523-5923-EF425711877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4106261D-5219-75C8-0936-6A175FF4E07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95B1B7B-F08B-FB53-0615-7DEC0B6D283D}"/>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3A853E9-9FEA-6D34-CFA0-F67D9BEA1C60}"/>
              </a:ext>
            </a:extLst>
          </p:cNvPr>
          <p:cNvSpPr>
            <a:spLocks noGrp="1"/>
          </p:cNvSpPr>
          <p:nvPr>
            <p:ph type="sldNum" sz="quarter" idx="5"/>
          </p:nvPr>
        </p:nvSpPr>
        <p:spPr/>
        <p:txBody>
          <a:bodyPr/>
          <a:lstStyle/>
          <a:p>
            <a:fld id="{066A5193-C6A8-2949-8CF6-26AAB01E5B92}" type="slidenum">
              <a:rPr lang="da-DK" smtClean="0"/>
              <a:t>13</a:t>
            </a:fld>
            <a:endParaRPr lang="da-DK"/>
          </a:p>
        </p:txBody>
      </p:sp>
    </p:spTree>
    <p:extLst>
      <p:ext uri="{BB962C8B-B14F-4D97-AF65-F5344CB8AC3E}">
        <p14:creationId xmlns:p14="http://schemas.microsoft.com/office/powerpoint/2010/main" val="76598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20C98-F5F5-239A-7E6E-C22E2A74EF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DB8003-6EE5-8DED-70A6-69816C067A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F2F091-6E7C-2C13-0C99-E0EFFE26433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8D4F8CD-7BA1-3202-16C1-0CEDAE1EE755}"/>
              </a:ext>
            </a:extLst>
          </p:cNvPr>
          <p:cNvSpPr>
            <a:spLocks noGrp="1"/>
          </p:cNvSpPr>
          <p:nvPr>
            <p:ph type="sldNum" sz="quarter" idx="5"/>
          </p:nvPr>
        </p:nvSpPr>
        <p:spPr/>
        <p:txBody>
          <a:bodyPr/>
          <a:lstStyle/>
          <a:p>
            <a:fld id="{066A5193-C6A8-2949-8CF6-26AAB01E5B92}" type="slidenum">
              <a:rPr lang="da-DK" smtClean="0"/>
              <a:t>18</a:t>
            </a:fld>
            <a:endParaRPr lang="da-DK"/>
          </a:p>
        </p:txBody>
      </p:sp>
    </p:spTree>
    <p:extLst>
      <p:ext uri="{BB962C8B-B14F-4D97-AF65-F5344CB8AC3E}">
        <p14:creationId xmlns:p14="http://schemas.microsoft.com/office/powerpoint/2010/main" val="1272841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25164-1DC8-2020-C3A4-7EA44E001B7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47B0C2B-ECDD-8961-6D34-A57C7C68263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CC884A4-D9E7-5405-7B11-F2AEC79DFFE6}"/>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BDF20437-11E9-2BC2-00FE-FF41A0E2D10A}"/>
              </a:ext>
            </a:extLst>
          </p:cNvPr>
          <p:cNvSpPr>
            <a:spLocks noGrp="1"/>
          </p:cNvSpPr>
          <p:nvPr>
            <p:ph type="sldNum" sz="quarter" idx="5"/>
          </p:nvPr>
        </p:nvSpPr>
        <p:spPr/>
        <p:txBody>
          <a:bodyPr/>
          <a:lstStyle/>
          <a:p>
            <a:fld id="{066A5193-C6A8-2949-8CF6-26AAB01E5B92}" type="slidenum">
              <a:rPr lang="da-DK" smtClean="0"/>
              <a:t>19</a:t>
            </a:fld>
            <a:endParaRPr lang="da-DK"/>
          </a:p>
        </p:txBody>
      </p:sp>
    </p:spTree>
    <p:extLst>
      <p:ext uri="{BB962C8B-B14F-4D97-AF65-F5344CB8AC3E}">
        <p14:creationId xmlns:p14="http://schemas.microsoft.com/office/powerpoint/2010/main" val="17485171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667E01-B311-A71C-52D7-04799196075F}"/>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579B1D20-7CD9-6500-8C55-9EF30B67C2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0E2E4F7-F25F-8DBE-1506-A2573240AE63}"/>
              </a:ext>
            </a:extLst>
          </p:cNvPr>
          <p:cNvSpPr>
            <a:spLocks noGrp="1"/>
          </p:cNvSpPr>
          <p:nvPr>
            <p:ph type="dt" sz="half" idx="10"/>
          </p:nvPr>
        </p:nvSpPr>
        <p:spPr/>
        <p:txBody>
          <a:bodyPr/>
          <a:lstStyle/>
          <a:p>
            <a:fld id="{BCD3E79E-A379-6F4C-89DA-C7EF4405C56B}" type="datetime1">
              <a:rPr lang="da-DK" smtClean="0"/>
              <a:t>07-11-2025</a:t>
            </a:fld>
            <a:endParaRPr lang="da-DK"/>
          </a:p>
        </p:txBody>
      </p:sp>
      <p:sp>
        <p:nvSpPr>
          <p:cNvPr id="5" name="Pladsholder til sidefod 4">
            <a:extLst>
              <a:ext uri="{FF2B5EF4-FFF2-40B4-BE49-F238E27FC236}">
                <a16:creationId xmlns:a16="http://schemas.microsoft.com/office/drawing/2014/main" id="{7C298C18-1EA7-6373-E218-0E3822929F80}"/>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8F190E7B-2823-BA0B-FF02-6AE810F52C2C}"/>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19383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7AAD84-14DC-82EA-B0C4-2FA87103E143}"/>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D3CF57F8-9E5F-3DD0-7E64-18F327A273A4}"/>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BA1D337-9F0A-D0E0-0899-1FF34B8AE033}"/>
              </a:ext>
            </a:extLst>
          </p:cNvPr>
          <p:cNvSpPr>
            <a:spLocks noGrp="1"/>
          </p:cNvSpPr>
          <p:nvPr>
            <p:ph type="dt" sz="half" idx="10"/>
          </p:nvPr>
        </p:nvSpPr>
        <p:spPr/>
        <p:txBody>
          <a:bodyPr/>
          <a:lstStyle/>
          <a:p>
            <a:fld id="{940B7F9F-334B-6241-85E2-33B93604C5A5}" type="datetime1">
              <a:rPr lang="da-DK" smtClean="0"/>
              <a:t>07-11-2025</a:t>
            </a:fld>
            <a:endParaRPr lang="da-DK"/>
          </a:p>
        </p:txBody>
      </p:sp>
      <p:sp>
        <p:nvSpPr>
          <p:cNvPr id="5" name="Pladsholder til sidefod 4">
            <a:extLst>
              <a:ext uri="{FF2B5EF4-FFF2-40B4-BE49-F238E27FC236}">
                <a16:creationId xmlns:a16="http://schemas.microsoft.com/office/drawing/2014/main" id="{54A4F5BE-C288-5CBD-EC8D-F48EBAD4BFFE}"/>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6BF6920A-0B69-6BFF-FB37-E6F6665E9F59}"/>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23749751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293B6E12-6318-EEAF-A81F-6A4EAF6AED56}"/>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07ABF560-2D9B-34B1-0F3E-8D3F2A985C68}"/>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BF208E6-85EA-E600-A468-24CFB78EEB89}"/>
              </a:ext>
            </a:extLst>
          </p:cNvPr>
          <p:cNvSpPr>
            <a:spLocks noGrp="1"/>
          </p:cNvSpPr>
          <p:nvPr>
            <p:ph type="dt" sz="half" idx="10"/>
          </p:nvPr>
        </p:nvSpPr>
        <p:spPr/>
        <p:txBody>
          <a:bodyPr/>
          <a:lstStyle/>
          <a:p>
            <a:fld id="{F54EC51C-FD23-B24B-8336-E381C81CC38F}" type="datetime1">
              <a:rPr lang="da-DK" smtClean="0"/>
              <a:t>07-11-2025</a:t>
            </a:fld>
            <a:endParaRPr lang="da-DK"/>
          </a:p>
        </p:txBody>
      </p:sp>
      <p:sp>
        <p:nvSpPr>
          <p:cNvPr id="5" name="Pladsholder til sidefod 4">
            <a:extLst>
              <a:ext uri="{FF2B5EF4-FFF2-40B4-BE49-F238E27FC236}">
                <a16:creationId xmlns:a16="http://schemas.microsoft.com/office/drawing/2014/main" id="{B04FD7D8-6230-89A8-CB6D-97A308CC0736}"/>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2F0479E6-810B-0E20-38F4-AFDDFD9DD436}"/>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37305161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F710AF-450D-E771-31A4-C5D78A79E8D1}"/>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C5033061-A1CA-8ABD-CCFE-CA9CF6973FA9}"/>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3BB8F02C-5609-4923-60B3-902876238C85}"/>
              </a:ext>
            </a:extLst>
          </p:cNvPr>
          <p:cNvSpPr>
            <a:spLocks noGrp="1"/>
          </p:cNvSpPr>
          <p:nvPr>
            <p:ph type="dt" sz="half" idx="10"/>
          </p:nvPr>
        </p:nvSpPr>
        <p:spPr/>
        <p:txBody>
          <a:bodyPr/>
          <a:lstStyle/>
          <a:p>
            <a:fld id="{7FCCB482-C946-244A-8958-3963A914699A}" type="datetime1">
              <a:rPr lang="da-DK" smtClean="0"/>
              <a:t>07-11-2025</a:t>
            </a:fld>
            <a:endParaRPr lang="da-DK"/>
          </a:p>
        </p:txBody>
      </p:sp>
      <p:sp>
        <p:nvSpPr>
          <p:cNvPr id="5" name="Pladsholder til sidefod 4">
            <a:extLst>
              <a:ext uri="{FF2B5EF4-FFF2-40B4-BE49-F238E27FC236}">
                <a16:creationId xmlns:a16="http://schemas.microsoft.com/office/drawing/2014/main" id="{8C2A8A12-1B0E-60A5-189B-71FFB27B171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8E0EEB9-0723-2FCA-888C-47B73CD60359}"/>
              </a:ext>
            </a:extLst>
          </p:cNvPr>
          <p:cNvSpPr>
            <a:spLocks noGrp="1"/>
          </p:cNvSpPr>
          <p:nvPr>
            <p:ph type="sldNum" sz="quarter" idx="12"/>
          </p:nvPr>
        </p:nvSpPr>
        <p:spPr/>
        <p:txBody>
          <a:bodyPr/>
          <a:lstStyle/>
          <a:p>
            <a:fld id="{D1CF6110-3358-3240-B3E6-2B2529506D05}" type="slidenum">
              <a:rPr lang="da-DK" smtClean="0"/>
              <a:t>‹nr.›</a:t>
            </a:fld>
            <a:endParaRPr lang="da-DK"/>
          </a:p>
        </p:txBody>
      </p:sp>
      <p:sp>
        <p:nvSpPr>
          <p:cNvPr id="8" name="Rectangle 7">
            <a:extLst>
              <a:ext uri="{FF2B5EF4-FFF2-40B4-BE49-F238E27FC236}">
                <a16:creationId xmlns:a16="http://schemas.microsoft.com/office/drawing/2014/main" id="{233ED997-95F7-B352-DD71-8B04A11408F7}"/>
              </a:ext>
            </a:extLst>
          </p:cNvPr>
          <p:cNvSpPr/>
          <p:nvPr userDrawn="1"/>
        </p:nvSpPr>
        <p:spPr>
          <a:xfrm>
            <a:off x="5055553" y="6356350"/>
            <a:ext cx="2080895" cy="3467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1300" b="1" kern="100">
                <a:solidFill>
                  <a:srgbClr val="005850"/>
                </a:solidFill>
                <a:effectLst/>
                <a:ea typeface="Aptos" panose="020B0004020202020204" pitchFamily="34" charset="0"/>
                <a:cs typeface="Arial" panose="020B0604020202020204" pitchFamily="34" charset="0"/>
              </a:rPr>
              <a:t>[</a:t>
            </a:r>
            <a:r>
              <a:rPr lang="en-US" sz="1300" b="1" kern="100" err="1">
                <a:solidFill>
                  <a:srgbClr val="005850"/>
                </a:solidFill>
                <a:effectLst/>
                <a:ea typeface="Aptos" panose="020B0004020202020204" pitchFamily="34" charset="0"/>
                <a:cs typeface="Arial" panose="020B0604020202020204" pitchFamily="34" charset="0"/>
              </a:rPr>
              <a:t>Boligorganisation</a:t>
            </a:r>
            <a:r>
              <a:rPr lang="en-US" sz="1300" b="1" kern="100">
                <a:solidFill>
                  <a:srgbClr val="005850"/>
                </a:solidFill>
                <a:effectLst/>
                <a:ea typeface="Aptos" panose="020B0004020202020204" pitchFamily="34" charset="0"/>
                <a:cs typeface="Arial" panose="020B0604020202020204" pitchFamily="34" charset="0"/>
              </a:rPr>
              <a:t> logo]</a:t>
            </a:r>
            <a:endParaRPr lang="da-DK" sz="1100" kern="100">
              <a:solidFill>
                <a:srgbClr val="005850"/>
              </a:solidFill>
              <a:effectLs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42039931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83D512-723B-9557-AA55-DB0C55F57875}"/>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3975F91C-49E4-F5FE-1132-456696E2B31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BB5598C2-2106-B26F-46D8-76136AE34397}"/>
              </a:ext>
            </a:extLst>
          </p:cNvPr>
          <p:cNvSpPr>
            <a:spLocks noGrp="1"/>
          </p:cNvSpPr>
          <p:nvPr>
            <p:ph type="dt" sz="half" idx="10"/>
          </p:nvPr>
        </p:nvSpPr>
        <p:spPr/>
        <p:txBody>
          <a:bodyPr/>
          <a:lstStyle/>
          <a:p>
            <a:fld id="{7D3F060A-26C1-924E-8C6E-C1F62DE304EE}" type="datetime1">
              <a:rPr lang="da-DK" smtClean="0"/>
              <a:t>07-11-2025</a:t>
            </a:fld>
            <a:endParaRPr lang="da-DK"/>
          </a:p>
        </p:txBody>
      </p:sp>
      <p:sp>
        <p:nvSpPr>
          <p:cNvPr id="5" name="Pladsholder til sidefod 4">
            <a:extLst>
              <a:ext uri="{FF2B5EF4-FFF2-40B4-BE49-F238E27FC236}">
                <a16:creationId xmlns:a16="http://schemas.microsoft.com/office/drawing/2014/main" id="{9D154B36-4098-6297-7130-C512CD514D6B}"/>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E5774994-4B0F-E56E-BCD5-43CA138137FF}"/>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15930122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43B768-B677-4EE6-2D7B-9890FCECEC86}"/>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1174058E-14CD-BA23-D3BF-5F387C9958A9}"/>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255691E4-E1FA-58B1-93CB-EA0FFA5DCA2B}"/>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F168C2FE-3CCB-191D-D113-1331556923EF}"/>
              </a:ext>
            </a:extLst>
          </p:cNvPr>
          <p:cNvSpPr>
            <a:spLocks noGrp="1"/>
          </p:cNvSpPr>
          <p:nvPr>
            <p:ph type="dt" sz="half" idx="10"/>
          </p:nvPr>
        </p:nvSpPr>
        <p:spPr/>
        <p:txBody>
          <a:bodyPr/>
          <a:lstStyle/>
          <a:p>
            <a:fld id="{AB95A55B-18E8-9042-9C16-BE02A06C8E4D}" type="datetime1">
              <a:rPr lang="da-DK" smtClean="0"/>
              <a:t>07-11-2025</a:t>
            </a:fld>
            <a:endParaRPr lang="da-DK"/>
          </a:p>
        </p:txBody>
      </p:sp>
      <p:sp>
        <p:nvSpPr>
          <p:cNvPr id="6" name="Pladsholder til sidefod 5">
            <a:extLst>
              <a:ext uri="{FF2B5EF4-FFF2-40B4-BE49-F238E27FC236}">
                <a16:creationId xmlns:a16="http://schemas.microsoft.com/office/drawing/2014/main" id="{57097E18-206A-E680-2FAD-E06DEC6C1775}"/>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A914250F-6A53-6D1B-1840-F5AE3CEF03EE}"/>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25327446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64E1C9-36C2-C558-39FB-578CC78B5A92}"/>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B248BE3-D52F-DAB6-9230-617C6302A0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F1C57A54-97DF-8A09-CF91-0F80FA531C60}"/>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BF5F64B5-773C-27F6-5133-E0EC8B332B3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6061A443-E535-CEEB-6134-E6BE59D5E4E7}"/>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446918C8-3389-0E93-721A-74C228BD2611}"/>
              </a:ext>
            </a:extLst>
          </p:cNvPr>
          <p:cNvSpPr>
            <a:spLocks noGrp="1"/>
          </p:cNvSpPr>
          <p:nvPr>
            <p:ph type="dt" sz="half" idx="10"/>
          </p:nvPr>
        </p:nvSpPr>
        <p:spPr/>
        <p:txBody>
          <a:bodyPr/>
          <a:lstStyle/>
          <a:p>
            <a:fld id="{5FBB38C1-8777-B546-8D08-6DE2722B13D2}" type="datetime1">
              <a:rPr lang="da-DK" smtClean="0"/>
              <a:t>07-11-2025</a:t>
            </a:fld>
            <a:endParaRPr lang="da-DK"/>
          </a:p>
        </p:txBody>
      </p:sp>
      <p:sp>
        <p:nvSpPr>
          <p:cNvPr id="8" name="Pladsholder til sidefod 7">
            <a:extLst>
              <a:ext uri="{FF2B5EF4-FFF2-40B4-BE49-F238E27FC236}">
                <a16:creationId xmlns:a16="http://schemas.microsoft.com/office/drawing/2014/main" id="{D750B8FF-054F-0045-07AF-6D317A3956C2}"/>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1B6D69C5-32A1-603B-5DD4-D193D3D8B859}"/>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1305417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ACDFD8-8CDA-4044-3103-7915240F9AEB}"/>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E8227FCE-365D-A58A-7B2C-9F26159E9802}"/>
              </a:ext>
            </a:extLst>
          </p:cNvPr>
          <p:cNvSpPr>
            <a:spLocks noGrp="1"/>
          </p:cNvSpPr>
          <p:nvPr>
            <p:ph type="dt" sz="half" idx="10"/>
          </p:nvPr>
        </p:nvSpPr>
        <p:spPr/>
        <p:txBody>
          <a:bodyPr/>
          <a:lstStyle/>
          <a:p>
            <a:fld id="{F12A4386-F720-FD45-B143-6EC00A4CA823}" type="datetime1">
              <a:rPr lang="da-DK" smtClean="0"/>
              <a:t>07-11-2025</a:t>
            </a:fld>
            <a:endParaRPr lang="da-DK"/>
          </a:p>
        </p:txBody>
      </p:sp>
      <p:sp>
        <p:nvSpPr>
          <p:cNvPr id="4" name="Pladsholder til sidefod 3">
            <a:extLst>
              <a:ext uri="{FF2B5EF4-FFF2-40B4-BE49-F238E27FC236}">
                <a16:creationId xmlns:a16="http://schemas.microsoft.com/office/drawing/2014/main" id="{A9331AD7-E58A-318F-3973-A05C2A0CC944}"/>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9F03A0EB-41C9-0BCB-2E27-5323C63CEDD4}"/>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14648452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F03F0268-35EB-E034-2380-7C8F6A02DE11}"/>
              </a:ext>
            </a:extLst>
          </p:cNvPr>
          <p:cNvSpPr>
            <a:spLocks noGrp="1"/>
          </p:cNvSpPr>
          <p:nvPr>
            <p:ph type="dt" sz="half" idx="10"/>
          </p:nvPr>
        </p:nvSpPr>
        <p:spPr/>
        <p:txBody>
          <a:bodyPr/>
          <a:lstStyle/>
          <a:p>
            <a:fld id="{D995AD56-4D37-D846-A9E5-51B39E0EEBCC}" type="datetime1">
              <a:rPr lang="da-DK" smtClean="0"/>
              <a:t>07-11-2025</a:t>
            </a:fld>
            <a:endParaRPr lang="da-DK"/>
          </a:p>
        </p:txBody>
      </p:sp>
      <p:sp>
        <p:nvSpPr>
          <p:cNvPr id="3" name="Pladsholder til sidefod 2">
            <a:extLst>
              <a:ext uri="{FF2B5EF4-FFF2-40B4-BE49-F238E27FC236}">
                <a16:creationId xmlns:a16="http://schemas.microsoft.com/office/drawing/2014/main" id="{1421C82A-74EA-DF9E-B915-F859ADC5F8E5}"/>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61F354C1-1256-30BA-FF4B-A2C13C351ADB}"/>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26817236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F0ED58-AE41-CD91-056B-F2D809F6884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B3156B33-CF8F-3890-7E03-6EAA1A7238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E2D52D46-45A8-BD5A-7770-FF12C5E479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FB4537C1-3EAB-EFE1-1212-96B8DE87817E}"/>
              </a:ext>
            </a:extLst>
          </p:cNvPr>
          <p:cNvSpPr>
            <a:spLocks noGrp="1"/>
          </p:cNvSpPr>
          <p:nvPr>
            <p:ph type="dt" sz="half" idx="10"/>
          </p:nvPr>
        </p:nvSpPr>
        <p:spPr/>
        <p:txBody>
          <a:bodyPr/>
          <a:lstStyle/>
          <a:p>
            <a:fld id="{F8F26904-DFEA-D24A-8833-499338BC119A}" type="datetime1">
              <a:rPr lang="da-DK" smtClean="0"/>
              <a:t>07-11-2025</a:t>
            </a:fld>
            <a:endParaRPr lang="da-DK"/>
          </a:p>
        </p:txBody>
      </p:sp>
      <p:sp>
        <p:nvSpPr>
          <p:cNvPr id="6" name="Pladsholder til sidefod 5">
            <a:extLst>
              <a:ext uri="{FF2B5EF4-FFF2-40B4-BE49-F238E27FC236}">
                <a16:creationId xmlns:a16="http://schemas.microsoft.com/office/drawing/2014/main" id="{67099E53-78E7-B66C-0962-6DCD350F3643}"/>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5F1AD389-1FFA-D9C2-1ECB-3A3123C0BAC1}"/>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3009988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7C9783-A0E4-CA83-AA94-B9FF547BF93E}"/>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5B1DC591-7C56-0CB8-5777-E28EA38014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432A1F90-05F7-4F4F-F01F-27DF0AF622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EDFD633C-A753-3B43-5C8C-90C449785ED0}"/>
              </a:ext>
            </a:extLst>
          </p:cNvPr>
          <p:cNvSpPr>
            <a:spLocks noGrp="1"/>
          </p:cNvSpPr>
          <p:nvPr>
            <p:ph type="dt" sz="half" idx="10"/>
          </p:nvPr>
        </p:nvSpPr>
        <p:spPr/>
        <p:txBody>
          <a:bodyPr/>
          <a:lstStyle/>
          <a:p>
            <a:fld id="{CF8171BB-7091-8546-B051-BF786EBA9D40}" type="datetime1">
              <a:rPr lang="da-DK" smtClean="0"/>
              <a:t>07-11-2025</a:t>
            </a:fld>
            <a:endParaRPr lang="da-DK"/>
          </a:p>
        </p:txBody>
      </p:sp>
      <p:sp>
        <p:nvSpPr>
          <p:cNvPr id="6" name="Pladsholder til sidefod 5">
            <a:extLst>
              <a:ext uri="{FF2B5EF4-FFF2-40B4-BE49-F238E27FC236}">
                <a16:creationId xmlns:a16="http://schemas.microsoft.com/office/drawing/2014/main" id="{1DFFAD98-5867-5A67-E78F-A04C7FABB5EB}"/>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F0A70A03-4856-1645-340D-A9370908220F}"/>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14304117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84135C-8EAA-366B-D702-AE924D91FC7F}"/>
              </a:ext>
            </a:extLst>
          </p:cNvPr>
          <p:cNvGraphicFramePr>
            <a:graphicFrameLocks noChangeAspect="1"/>
          </p:cNvGraphicFramePr>
          <p:nvPr userDrawn="1">
            <p:custDataLst>
              <p:tags r:id="rId13"/>
            </p:custDataLst>
            <p:extLst>
              <p:ext uri="{D42A27DB-BD31-4B8C-83A1-F6EECF244321}">
                <p14:modId xmlns:p14="http://schemas.microsoft.com/office/powerpoint/2010/main" val="50429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5" progId="TCLayout.ActiveDocument.1">
                  <p:embed/>
                </p:oleObj>
              </mc:Choice>
              <mc:Fallback>
                <p:oleObj name="think-cell Slide" r:id="rId14" imgW="592" imgH="595" progId="TCLayout.ActiveDocument.1">
                  <p:embed/>
                  <p:pic>
                    <p:nvPicPr>
                      <p:cNvPr id="8" name="think-cell data - do not delete" hidden="1">
                        <a:extLst>
                          <a:ext uri="{FF2B5EF4-FFF2-40B4-BE49-F238E27FC236}">
                            <a16:creationId xmlns:a16="http://schemas.microsoft.com/office/drawing/2014/main" id="{F184135C-8EAA-366B-D702-AE924D91FC7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1F45686A-292E-7C3C-5740-AF55D823D2D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02EDD5F-2AC0-3518-BCDC-F6D8FB7E4F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ACD2485-0A3E-694C-B219-B1A38DA592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A252B0D-14B4-5542-A6FE-39A0F15B081B}" type="datetime1">
              <a:rPr lang="da-DK" smtClean="0"/>
              <a:t>07-11-2025</a:t>
            </a:fld>
            <a:endParaRPr lang="da-DK"/>
          </a:p>
        </p:txBody>
      </p:sp>
      <p:sp>
        <p:nvSpPr>
          <p:cNvPr id="5" name="Pladsholder til sidefod 4">
            <a:extLst>
              <a:ext uri="{FF2B5EF4-FFF2-40B4-BE49-F238E27FC236}">
                <a16:creationId xmlns:a16="http://schemas.microsoft.com/office/drawing/2014/main" id="{19E7E146-4E48-EF92-7D22-941BDBD799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2A6C8471-7EA8-CFFB-473E-04A4B9A7D0E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1CF6110-3358-3240-B3E6-2B2529506D05}" type="slidenum">
              <a:rPr lang="da-DK" smtClean="0"/>
              <a:t>‹nr.›</a:t>
            </a:fld>
            <a:endParaRPr lang="da-DK"/>
          </a:p>
        </p:txBody>
      </p:sp>
    </p:spTree>
    <p:extLst>
      <p:ext uri="{BB962C8B-B14F-4D97-AF65-F5344CB8AC3E}">
        <p14:creationId xmlns:p14="http://schemas.microsoft.com/office/powerpoint/2010/main" val="42022081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emf"/><Relationship Id="rId1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slideLayout" Target="../slideLayouts/slideLayout2.xml"/><Relationship Id="rId16" Type="http://schemas.openxmlformats.org/officeDocument/2006/relationships/image" Target="../media/image23.png"/><Relationship Id="rId1" Type="http://schemas.openxmlformats.org/officeDocument/2006/relationships/tags" Target="../tags/tag10.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emf"/><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oleObject" Target="../embeddings/oleObject5.bin"/><Relationship Id="rId9" Type="http://schemas.openxmlformats.org/officeDocument/2006/relationships/image" Target="../media/image16.png"/><Relationship Id="rId1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27.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27.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27.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29.jpeg"/><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31.png"/><Relationship Id="rId4" Type="http://schemas.microsoft.com/office/2007/relationships/hdphoto" Target="../media/hdphoto4.wdp"/></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31.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31.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31.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33.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33.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33.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3.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4.png"/><Relationship Id="rId5" Type="http://schemas.openxmlformats.org/officeDocument/2006/relationships/image" Target="../media/image36.emf"/><Relationship Id="rId4" Type="http://schemas.openxmlformats.org/officeDocument/2006/relationships/oleObject" Target="../embeddings/oleObject10.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7.png"/><Relationship Id="rId10" Type="http://schemas.openxmlformats.org/officeDocument/2006/relationships/image" Target="../media/image10.svg"/><Relationship Id="rId4" Type="http://schemas.microsoft.com/office/2007/relationships/hdphoto" Target="../media/hdphoto1.wdp"/><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3C03C75-C10F-DBB9-A8B5-2B6A6A7679D6}"/>
              </a:ext>
            </a:extLst>
          </p:cNvPr>
          <p:cNvSpPr/>
          <p:nvPr/>
        </p:nvSpPr>
        <p:spPr>
          <a:xfrm>
            <a:off x="409253" y="603606"/>
            <a:ext cx="11373492" cy="5650787"/>
          </a:xfrm>
          <a:prstGeom prst="rect">
            <a:avLst/>
          </a:prstGeom>
          <a:noFill/>
          <a:ln w="12700">
            <a:extLst>
              <a:ext uri="{C807C97D-BFC1-408E-A445-0C87EB9F89A2}">
                <ask:lineSketchStyleProps xmlns:ask="http://schemas.microsoft.com/office/drawing/2018/sketchyshapes" sd="1334002266">
                  <a:custGeom>
                    <a:avLst/>
                    <a:gdLst>
                      <a:gd name="connsiteX0" fmla="*/ 0 w 11373492"/>
                      <a:gd name="connsiteY0" fmla="*/ 0 h 5650787"/>
                      <a:gd name="connsiteX1" fmla="*/ 555294 w 11373492"/>
                      <a:gd name="connsiteY1" fmla="*/ 0 h 5650787"/>
                      <a:gd name="connsiteX2" fmla="*/ 1224323 w 11373492"/>
                      <a:gd name="connsiteY2" fmla="*/ 0 h 5650787"/>
                      <a:gd name="connsiteX3" fmla="*/ 2007087 w 11373492"/>
                      <a:gd name="connsiteY3" fmla="*/ 0 h 5650787"/>
                      <a:gd name="connsiteX4" fmla="*/ 2676116 w 11373492"/>
                      <a:gd name="connsiteY4" fmla="*/ 0 h 5650787"/>
                      <a:gd name="connsiteX5" fmla="*/ 3458880 w 11373492"/>
                      <a:gd name="connsiteY5" fmla="*/ 0 h 5650787"/>
                      <a:gd name="connsiteX6" fmla="*/ 4014174 w 11373492"/>
                      <a:gd name="connsiteY6" fmla="*/ 0 h 5650787"/>
                      <a:gd name="connsiteX7" fmla="*/ 4910672 w 11373492"/>
                      <a:gd name="connsiteY7" fmla="*/ 0 h 5650787"/>
                      <a:gd name="connsiteX8" fmla="*/ 5238497 w 11373492"/>
                      <a:gd name="connsiteY8" fmla="*/ 0 h 5650787"/>
                      <a:gd name="connsiteX9" fmla="*/ 5566321 w 11373492"/>
                      <a:gd name="connsiteY9" fmla="*/ 0 h 5650787"/>
                      <a:gd name="connsiteX10" fmla="*/ 6349085 w 11373492"/>
                      <a:gd name="connsiteY10" fmla="*/ 0 h 5650787"/>
                      <a:gd name="connsiteX11" fmla="*/ 6676909 w 11373492"/>
                      <a:gd name="connsiteY11" fmla="*/ 0 h 5650787"/>
                      <a:gd name="connsiteX12" fmla="*/ 7232203 w 11373492"/>
                      <a:gd name="connsiteY12" fmla="*/ 0 h 5650787"/>
                      <a:gd name="connsiteX13" fmla="*/ 7560027 w 11373492"/>
                      <a:gd name="connsiteY13" fmla="*/ 0 h 5650787"/>
                      <a:gd name="connsiteX14" fmla="*/ 8115321 w 11373492"/>
                      <a:gd name="connsiteY14" fmla="*/ 0 h 5650787"/>
                      <a:gd name="connsiteX15" fmla="*/ 9011820 w 11373492"/>
                      <a:gd name="connsiteY15" fmla="*/ 0 h 5650787"/>
                      <a:gd name="connsiteX16" fmla="*/ 9680849 w 11373492"/>
                      <a:gd name="connsiteY16" fmla="*/ 0 h 5650787"/>
                      <a:gd name="connsiteX17" fmla="*/ 10122408 w 11373492"/>
                      <a:gd name="connsiteY17" fmla="*/ 0 h 5650787"/>
                      <a:gd name="connsiteX18" fmla="*/ 10791437 w 11373492"/>
                      <a:gd name="connsiteY18" fmla="*/ 0 h 5650787"/>
                      <a:gd name="connsiteX19" fmla="*/ 11373492 w 11373492"/>
                      <a:gd name="connsiteY19" fmla="*/ 0 h 5650787"/>
                      <a:gd name="connsiteX20" fmla="*/ 11373492 w 11373492"/>
                      <a:gd name="connsiteY20" fmla="*/ 684373 h 5650787"/>
                      <a:gd name="connsiteX21" fmla="*/ 11373492 w 11373492"/>
                      <a:gd name="connsiteY21" fmla="*/ 1368746 h 5650787"/>
                      <a:gd name="connsiteX22" fmla="*/ 11373492 w 11373492"/>
                      <a:gd name="connsiteY22" fmla="*/ 1883596 h 5650787"/>
                      <a:gd name="connsiteX23" fmla="*/ 11373492 w 11373492"/>
                      <a:gd name="connsiteY23" fmla="*/ 2454953 h 5650787"/>
                      <a:gd name="connsiteX24" fmla="*/ 11373492 w 11373492"/>
                      <a:gd name="connsiteY24" fmla="*/ 3026310 h 5650787"/>
                      <a:gd name="connsiteX25" fmla="*/ 11373492 w 11373492"/>
                      <a:gd name="connsiteY25" fmla="*/ 3484652 h 5650787"/>
                      <a:gd name="connsiteX26" fmla="*/ 11373492 w 11373492"/>
                      <a:gd name="connsiteY26" fmla="*/ 4056009 h 5650787"/>
                      <a:gd name="connsiteX27" fmla="*/ 11373492 w 11373492"/>
                      <a:gd name="connsiteY27" fmla="*/ 4740382 h 5650787"/>
                      <a:gd name="connsiteX28" fmla="*/ 11373492 w 11373492"/>
                      <a:gd name="connsiteY28" fmla="*/ 5650787 h 5650787"/>
                      <a:gd name="connsiteX29" fmla="*/ 10931933 w 11373492"/>
                      <a:gd name="connsiteY29" fmla="*/ 5650787 h 5650787"/>
                      <a:gd name="connsiteX30" fmla="*/ 10490374 w 11373492"/>
                      <a:gd name="connsiteY30" fmla="*/ 5650787 h 5650787"/>
                      <a:gd name="connsiteX31" fmla="*/ 9593875 w 11373492"/>
                      <a:gd name="connsiteY31" fmla="*/ 5650787 h 5650787"/>
                      <a:gd name="connsiteX32" fmla="*/ 8924846 w 11373492"/>
                      <a:gd name="connsiteY32" fmla="*/ 5650787 h 5650787"/>
                      <a:gd name="connsiteX33" fmla="*/ 8369552 w 11373492"/>
                      <a:gd name="connsiteY33" fmla="*/ 5650787 h 5650787"/>
                      <a:gd name="connsiteX34" fmla="*/ 7927993 w 11373492"/>
                      <a:gd name="connsiteY34" fmla="*/ 5650787 h 5650787"/>
                      <a:gd name="connsiteX35" fmla="*/ 7031494 w 11373492"/>
                      <a:gd name="connsiteY35" fmla="*/ 5650787 h 5650787"/>
                      <a:gd name="connsiteX36" fmla="*/ 6703670 w 11373492"/>
                      <a:gd name="connsiteY36" fmla="*/ 5650787 h 5650787"/>
                      <a:gd name="connsiteX37" fmla="*/ 6375846 w 11373492"/>
                      <a:gd name="connsiteY37" fmla="*/ 5650787 h 5650787"/>
                      <a:gd name="connsiteX38" fmla="*/ 5820552 w 11373492"/>
                      <a:gd name="connsiteY38" fmla="*/ 5650787 h 5650787"/>
                      <a:gd name="connsiteX39" fmla="*/ 5151523 w 11373492"/>
                      <a:gd name="connsiteY39" fmla="*/ 5650787 h 5650787"/>
                      <a:gd name="connsiteX40" fmla="*/ 4596229 w 11373492"/>
                      <a:gd name="connsiteY40" fmla="*/ 5650787 h 5650787"/>
                      <a:gd name="connsiteX41" fmla="*/ 4040935 w 11373492"/>
                      <a:gd name="connsiteY41" fmla="*/ 5650787 h 5650787"/>
                      <a:gd name="connsiteX42" fmla="*/ 3599376 w 11373492"/>
                      <a:gd name="connsiteY42" fmla="*/ 5650787 h 5650787"/>
                      <a:gd name="connsiteX43" fmla="*/ 3044082 w 11373492"/>
                      <a:gd name="connsiteY43" fmla="*/ 5650787 h 5650787"/>
                      <a:gd name="connsiteX44" fmla="*/ 2488788 w 11373492"/>
                      <a:gd name="connsiteY44" fmla="*/ 5650787 h 5650787"/>
                      <a:gd name="connsiteX45" fmla="*/ 1592289 w 11373492"/>
                      <a:gd name="connsiteY45" fmla="*/ 5650787 h 5650787"/>
                      <a:gd name="connsiteX46" fmla="*/ 1264465 w 11373492"/>
                      <a:gd name="connsiteY46" fmla="*/ 5650787 h 5650787"/>
                      <a:gd name="connsiteX47" fmla="*/ 822906 w 11373492"/>
                      <a:gd name="connsiteY47" fmla="*/ 5650787 h 5650787"/>
                      <a:gd name="connsiteX48" fmla="*/ 0 w 11373492"/>
                      <a:gd name="connsiteY48" fmla="*/ 5650787 h 5650787"/>
                      <a:gd name="connsiteX49" fmla="*/ 0 w 11373492"/>
                      <a:gd name="connsiteY49" fmla="*/ 5022922 h 5650787"/>
                      <a:gd name="connsiteX50" fmla="*/ 0 w 11373492"/>
                      <a:gd name="connsiteY50" fmla="*/ 4395057 h 5650787"/>
                      <a:gd name="connsiteX51" fmla="*/ 0 w 11373492"/>
                      <a:gd name="connsiteY51" fmla="*/ 3710683 h 5650787"/>
                      <a:gd name="connsiteX52" fmla="*/ 0 w 11373492"/>
                      <a:gd name="connsiteY52" fmla="*/ 2969803 h 5650787"/>
                      <a:gd name="connsiteX53" fmla="*/ 0 w 11373492"/>
                      <a:gd name="connsiteY53" fmla="*/ 2454953 h 5650787"/>
                      <a:gd name="connsiteX54" fmla="*/ 0 w 11373492"/>
                      <a:gd name="connsiteY54" fmla="*/ 1714072 h 5650787"/>
                      <a:gd name="connsiteX55" fmla="*/ 0 w 11373492"/>
                      <a:gd name="connsiteY55" fmla="*/ 1029699 h 5650787"/>
                      <a:gd name="connsiteX56" fmla="*/ 0 w 11373492"/>
                      <a:gd name="connsiteY56" fmla="*/ 0 h 5650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1373492" h="5650787" extrusionOk="0">
                        <a:moveTo>
                          <a:pt x="0" y="0"/>
                        </a:moveTo>
                        <a:cubicBezTo>
                          <a:pt x="156201" y="-13417"/>
                          <a:pt x="324675" y="9634"/>
                          <a:pt x="555294" y="0"/>
                        </a:cubicBezTo>
                        <a:cubicBezTo>
                          <a:pt x="785913" y="-9634"/>
                          <a:pt x="1016295" y="-30239"/>
                          <a:pt x="1224323" y="0"/>
                        </a:cubicBezTo>
                        <a:cubicBezTo>
                          <a:pt x="1432351" y="30239"/>
                          <a:pt x="1694802" y="-6566"/>
                          <a:pt x="2007087" y="0"/>
                        </a:cubicBezTo>
                        <a:cubicBezTo>
                          <a:pt x="2319372" y="6566"/>
                          <a:pt x="2498366" y="26535"/>
                          <a:pt x="2676116" y="0"/>
                        </a:cubicBezTo>
                        <a:cubicBezTo>
                          <a:pt x="2853866" y="-26535"/>
                          <a:pt x="3157609" y="-21845"/>
                          <a:pt x="3458880" y="0"/>
                        </a:cubicBezTo>
                        <a:cubicBezTo>
                          <a:pt x="3760151" y="21845"/>
                          <a:pt x="3887390" y="16110"/>
                          <a:pt x="4014174" y="0"/>
                        </a:cubicBezTo>
                        <a:cubicBezTo>
                          <a:pt x="4140958" y="-16110"/>
                          <a:pt x="4722343" y="16355"/>
                          <a:pt x="4910672" y="0"/>
                        </a:cubicBezTo>
                        <a:cubicBezTo>
                          <a:pt x="5099001" y="-16355"/>
                          <a:pt x="5164839" y="-858"/>
                          <a:pt x="5238497" y="0"/>
                        </a:cubicBezTo>
                        <a:cubicBezTo>
                          <a:pt x="5312155" y="858"/>
                          <a:pt x="5411677" y="10572"/>
                          <a:pt x="5566321" y="0"/>
                        </a:cubicBezTo>
                        <a:cubicBezTo>
                          <a:pt x="5720965" y="-10572"/>
                          <a:pt x="6052405" y="-20230"/>
                          <a:pt x="6349085" y="0"/>
                        </a:cubicBezTo>
                        <a:cubicBezTo>
                          <a:pt x="6645765" y="20230"/>
                          <a:pt x="6542039" y="1343"/>
                          <a:pt x="6676909" y="0"/>
                        </a:cubicBezTo>
                        <a:cubicBezTo>
                          <a:pt x="6811779" y="-1343"/>
                          <a:pt x="6962643" y="-1573"/>
                          <a:pt x="7232203" y="0"/>
                        </a:cubicBezTo>
                        <a:cubicBezTo>
                          <a:pt x="7501763" y="1573"/>
                          <a:pt x="7492547" y="-13653"/>
                          <a:pt x="7560027" y="0"/>
                        </a:cubicBezTo>
                        <a:cubicBezTo>
                          <a:pt x="7627507" y="13653"/>
                          <a:pt x="7890066" y="9366"/>
                          <a:pt x="8115321" y="0"/>
                        </a:cubicBezTo>
                        <a:cubicBezTo>
                          <a:pt x="8340576" y="-9366"/>
                          <a:pt x="8704263" y="-40586"/>
                          <a:pt x="9011820" y="0"/>
                        </a:cubicBezTo>
                        <a:cubicBezTo>
                          <a:pt x="9319377" y="40586"/>
                          <a:pt x="9368571" y="-12577"/>
                          <a:pt x="9680849" y="0"/>
                        </a:cubicBezTo>
                        <a:cubicBezTo>
                          <a:pt x="9993127" y="12577"/>
                          <a:pt x="10012727" y="7355"/>
                          <a:pt x="10122408" y="0"/>
                        </a:cubicBezTo>
                        <a:cubicBezTo>
                          <a:pt x="10232089" y="-7355"/>
                          <a:pt x="10567257" y="-21676"/>
                          <a:pt x="10791437" y="0"/>
                        </a:cubicBezTo>
                        <a:cubicBezTo>
                          <a:pt x="11015617" y="21676"/>
                          <a:pt x="11192412" y="-18517"/>
                          <a:pt x="11373492" y="0"/>
                        </a:cubicBezTo>
                        <a:cubicBezTo>
                          <a:pt x="11404559" y="147663"/>
                          <a:pt x="11384563" y="512478"/>
                          <a:pt x="11373492" y="684373"/>
                        </a:cubicBezTo>
                        <a:cubicBezTo>
                          <a:pt x="11362421" y="856268"/>
                          <a:pt x="11389364" y="1182920"/>
                          <a:pt x="11373492" y="1368746"/>
                        </a:cubicBezTo>
                        <a:cubicBezTo>
                          <a:pt x="11357620" y="1554572"/>
                          <a:pt x="11388611" y="1705800"/>
                          <a:pt x="11373492" y="1883596"/>
                        </a:cubicBezTo>
                        <a:cubicBezTo>
                          <a:pt x="11358374" y="2061392"/>
                          <a:pt x="11358630" y="2318611"/>
                          <a:pt x="11373492" y="2454953"/>
                        </a:cubicBezTo>
                        <a:cubicBezTo>
                          <a:pt x="11388354" y="2591295"/>
                          <a:pt x="11388277" y="2883862"/>
                          <a:pt x="11373492" y="3026310"/>
                        </a:cubicBezTo>
                        <a:cubicBezTo>
                          <a:pt x="11358707" y="3168758"/>
                          <a:pt x="11394267" y="3318091"/>
                          <a:pt x="11373492" y="3484652"/>
                        </a:cubicBezTo>
                        <a:cubicBezTo>
                          <a:pt x="11352717" y="3651213"/>
                          <a:pt x="11380634" y="3858885"/>
                          <a:pt x="11373492" y="4056009"/>
                        </a:cubicBezTo>
                        <a:cubicBezTo>
                          <a:pt x="11366350" y="4253133"/>
                          <a:pt x="11389415" y="4460249"/>
                          <a:pt x="11373492" y="4740382"/>
                        </a:cubicBezTo>
                        <a:cubicBezTo>
                          <a:pt x="11357569" y="5020515"/>
                          <a:pt x="11407753" y="5248836"/>
                          <a:pt x="11373492" y="5650787"/>
                        </a:cubicBezTo>
                        <a:cubicBezTo>
                          <a:pt x="11173547" y="5648363"/>
                          <a:pt x="11136236" y="5638519"/>
                          <a:pt x="10931933" y="5650787"/>
                        </a:cubicBezTo>
                        <a:cubicBezTo>
                          <a:pt x="10727630" y="5663055"/>
                          <a:pt x="10667967" y="5638256"/>
                          <a:pt x="10490374" y="5650787"/>
                        </a:cubicBezTo>
                        <a:cubicBezTo>
                          <a:pt x="10312781" y="5663318"/>
                          <a:pt x="10010968" y="5679447"/>
                          <a:pt x="9593875" y="5650787"/>
                        </a:cubicBezTo>
                        <a:cubicBezTo>
                          <a:pt x="9176782" y="5622127"/>
                          <a:pt x="9161517" y="5666531"/>
                          <a:pt x="8924846" y="5650787"/>
                        </a:cubicBezTo>
                        <a:cubicBezTo>
                          <a:pt x="8688175" y="5635043"/>
                          <a:pt x="8594893" y="5656717"/>
                          <a:pt x="8369552" y="5650787"/>
                        </a:cubicBezTo>
                        <a:cubicBezTo>
                          <a:pt x="8144211" y="5644857"/>
                          <a:pt x="8044346" y="5662189"/>
                          <a:pt x="7927993" y="5650787"/>
                        </a:cubicBezTo>
                        <a:cubicBezTo>
                          <a:pt x="7811640" y="5639385"/>
                          <a:pt x="7382071" y="5673759"/>
                          <a:pt x="7031494" y="5650787"/>
                        </a:cubicBezTo>
                        <a:cubicBezTo>
                          <a:pt x="6680917" y="5627815"/>
                          <a:pt x="6811969" y="5644316"/>
                          <a:pt x="6703670" y="5650787"/>
                        </a:cubicBezTo>
                        <a:cubicBezTo>
                          <a:pt x="6595371" y="5657258"/>
                          <a:pt x="6451801" y="5653207"/>
                          <a:pt x="6375846" y="5650787"/>
                        </a:cubicBezTo>
                        <a:cubicBezTo>
                          <a:pt x="6299891" y="5648367"/>
                          <a:pt x="6009317" y="5631710"/>
                          <a:pt x="5820552" y="5650787"/>
                        </a:cubicBezTo>
                        <a:cubicBezTo>
                          <a:pt x="5631787" y="5669864"/>
                          <a:pt x="5324265" y="5671326"/>
                          <a:pt x="5151523" y="5650787"/>
                        </a:cubicBezTo>
                        <a:cubicBezTo>
                          <a:pt x="4978781" y="5630248"/>
                          <a:pt x="4740099" y="5660282"/>
                          <a:pt x="4596229" y="5650787"/>
                        </a:cubicBezTo>
                        <a:cubicBezTo>
                          <a:pt x="4452359" y="5641292"/>
                          <a:pt x="4240875" y="5649922"/>
                          <a:pt x="4040935" y="5650787"/>
                        </a:cubicBezTo>
                        <a:cubicBezTo>
                          <a:pt x="3840995" y="5651652"/>
                          <a:pt x="3758460" y="5636412"/>
                          <a:pt x="3599376" y="5650787"/>
                        </a:cubicBezTo>
                        <a:cubicBezTo>
                          <a:pt x="3440292" y="5665162"/>
                          <a:pt x="3264017" y="5674216"/>
                          <a:pt x="3044082" y="5650787"/>
                        </a:cubicBezTo>
                        <a:cubicBezTo>
                          <a:pt x="2824147" y="5627358"/>
                          <a:pt x="2727182" y="5660568"/>
                          <a:pt x="2488788" y="5650787"/>
                        </a:cubicBezTo>
                        <a:cubicBezTo>
                          <a:pt x="2250394" y="5641006"/>
                          <a:pt x="1799226" y="5623851"/>
                          <a:pt x="1592289" y="5650787"/>
                        </a:cubicBezTo>
                        <a:cubicBezTo>
                          <a:pt x="1385352" y="5677723"/>
                          <a:pt x="1396127" y="5650304"/>
                          <a:pt x="1264465" y="5650787"/>
                        </a:cubicBezTo>
                        <a:cubicBezTo>
                          <a:pt x="1132803" y="5651270"/>
                          <a:pt x="972770" y="5645580"/>
                          <a:pt x="822906" y="5650787"/>
                        </a:cubicBezTo>
                        <a:cubicBezTo>
                          <a:pt x="673042" y="5655994"/>
                          <a:pt x="363962" y="5618802"/>
                          <a:pt x="0" y="5650787"/>
                        </a:cubicBezTo>
                        <a:cubicBezTo>
                          <a:pt x="4462" y="5465134"/>
                          <a:pt x="-28900" y="5241517"/>
                          <a:pt x="0" y="5022922"/>
                        </a:cubicBezTo>
                        <a:cubicBezTo>
                          <a:pt x="28900" y="4804328"/>
                          <a:pt x="9749" y="4640230"/>
                          <a:pt x="0" y="4395057"/>
                        </a:cubicBezTo>
                        <a:cubicBezTo>
                          <a:pt x="-9749" y="4149884"/>
                          <a:pt x="13212" y="3889457"/>
                          <a:pt x="0" y="3710683"/>
                        </a:cubicBezTo>
                        <a:cubicBezTo>
                          <a:pt x="-13212" y="3531909"/>
                          <a:pt x="-18047" y="3282580"/>
                          <a:pt x="0" y="2969803"/>
                        </a:cubicBezTo>
                        <a:cubicBezTo>
                          <a:pt x="18047" y="2657026"/>
                          <a:pt x="-8479" y="2619654"/>
                          <a:pt x="0" y="2454953"/>
                        </a:cubicBezTo>
                        <a:cubicBezTo>
                          <a:pt x="8479" y="2290252"/>
                          <a:pt x="-746" y="1967487"/>
                          <a:pt x="0" y="1714072"/>
                        </a:cubicBezTo>
                        <a:cubicBezTo>
                          <a:pt x="746" y="1460657"/>
                          <a:pt x="-33041" y="1277527"/>
                          <a:pt x="0" y="1029699"/>
                        </a:cubicBezTo>
                        <a:cubicBezTo>
                          <a:pt x="33041" y="781871"/>
                          <a:pt x="-33637" y="471798"/>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Pladsholder til sidefod 3">
            <a:extLst>
              <a:ext uri="{FF2B5EF4-FFF2-40B4-BE49-F238E27FC236}">
                <a16:creationId xmlns:a16="http://schemas.microsoft.com/office/drawing/2014/main" id="{32E6A684-DC9D-2365-ACEE-938B46568A1F}"/>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D1EB2547-9DFE-4813-4846-E28420CF1B7C}"/>
              </a:ext>
            </a:extLst>
          </p:cNvPr>
          <p:cNvSpPr>
            <a:spLocks noGrp="1"/>
          </p:cNvSpPr>
          <p:nvPr>
            <p:ph type="sldNum" sz="quarter" idx="12"/>
          </p:nvPr>
        </p:nvSpPr>
        <p:spPr/>
        <p:txBody>
          <a:bodyPr/>
          <a:lstStyle/>
          <a:p>
            <a:fld id="{D1CF6110-3358-3240-B3E6-2B2529506D05}" type="slidenum">
              <a:rPr lang="da-DK" smtClean="0"/>
              <a:t>1</a:t>
            </a:fld>
            <a:endParaRPr lang="da-DK"/>
          </a:p>
        </p:txBody>
      </p:sp>
      <p:sp>
        <p:nvSpPr>
          <p:cNvPr id="7" name="Tekstfelt 6">
            <a:extLst>
              <a:ext uri="{FF2B5EF4-FFF2-40B4-BE49-F238E27FC236}">
                <a16:creationId xmlns:a16="http://schemas.microsoft.com/office/drawing/2014/main" id="{509FA068-0518-3399-9CEC-FEEA8B2B69F3}"/>
              </a:ext>
            </a:extLst>
          </p:cNvPr>
          <p:cNvSpPr txBox="1"/>
          <p:nvPr/>
        </p:nvSpPr>
        <p:spPr>
          <a:xfrm>
            <a:off x="607564" y="777131"/>
            <a:ext cx="10025602" cy="362472"/>
          </a:xfrm>
          <a:prstGeom prst="rect">
            <a:avLst/>
          </a:prstGeom>
          <a:noFill/>
        </p:spPr>
        <p:txBody>
          <a:bodyPr wrap="square">
            <a:spAutoFit/>
          </a:bodyPr>
          <a:lstStyle/>
          <a:p>
            <a:pPr>
              <a:lnSpc>
                <a:spcPct val="107000"/>
              </a:lnSpc>
              <a:spcAft>
                <a:spcPts val="800"/>
              </a:spcAft>
              <a:buNone/>
            </a:pPr>
            <a:r>
              <a:rPr lang="da-DK" b="1" kern="100" dirty="0">
                <a:effectLst/>
                <a:latin typeface="Verdana" panose="020B0604030504040204" pitchFamily="34" charset="0"/>
                <a:ea typeface="Verdana" panose="020B0604030504040204" pitchFamily="34" charset="0"/>
                <a:cs typeface="Arial" panose="020B0604020202020204" pitchFamily="34" charset="0"/>
              </a:rPr>
              <a:t>Guide til udfyldning af ESG-rapportskabelonen</a:t>
            </a:r>
            <a:endParaRPr lang="da-DK" sz="1000" kern="100" dirty="0">
              <a:effectLst/>
              <a:latin typeface="Verdana" panose="020B0604030504040204" pitchFamily="34" charset="0"/>
              <a:ea typeface="Verdana" panose="020B0604030504040204" pitchFamily="34" charset="0"/>
              <a:cs typeface="Arial" panose="020B0604020202020204" pitchFamily="34" charset="0"/>
            </a:endParaRPr>
          </a:p>
        </p:txBody>
      </p:sp>
      <p:sp>
        <p:nvSpPr>
          <p:cNvPr id="3" name="Tekstfelt 6">
            <a:extLst>
              <a:ext uri="{FF2B5EF4-FFF2-40B4-BE49-F238E27FC236}">
                <a16:creationId xmlns:a16="http://schemas.microsoft.com/office/drawing/2014/main" id="{7B9EEC70-ECE1-9DE1-858D-E0EEA65AA781}"/>
              </a:ext>
            </a:extLst>
          </p:cNvPr>
          <p:cNvSpPr txBox="1"/>
          <p:nvPr/>
        </p:nvSpPr>
        <p:spPr>
          <a:xfrm>
            <a:off x="5913120" y="1177728"/>
            <a:ext cx="5879140" cy="5046574"/>
          </a:xfrm>
          <a:prstGeom prst="rect">
            <a:avLst/>
          </a:prstGeom>
          <a:noFill/>
        </p:spPr>
        <p:txBody>
          <a:bodyPr wrap="square">
            <a:spAutoFit/>
          </a:bodyPr>
          <a:lstStyle/>
          <a:p>
            <a:pPr>
              <a:lnSpc>
                <a:spcPct val="107000"/>
              </a:lnSpc>
              <a:spcAft>
                <a:spcPts val="800"/>
              </a:spcAft>
              <a:buNone/>
            </a:pPr>
            <a:r>
              <a:rPr lang="da-DK" sz="1050" b="1" kern="100" dirty="0">
                <a:effectLst/>
                <a:latin typeface="Verdana" panose="020B0604030504040204" pitchFamily="34" charset="0"/>
                <a:ea typeface="Verdana" panose="020B0604030504040204" pitchFamily="34" charset="0"/>
                <a:cs typeface="Verdana" panose="020B0604030504040204" pitchFamily="34" charset="0"/>
              </a:rPr>
              <a:t>Hvordan bruges skabelonen?</a:t>
            </a:r>
          </a:p>
          <a:p>
            <a:pPr>
              <a:lnSpc>
                <a:spcPct val="107000"/>
              </a:lnSpc>
              <a:spcAft>
                <a:spcPts val="800"/>
              </a:spcAft>
              <a:buNone/>
            </a:pPr>
            <a:r>
              <a:rPr lang="da-DK" sz="1050" kern="100" dirty="0">
                <a:effectLst/>
                <a:latin typeface="Verdana" panose="020B0604030504040204" pitchFamily="34" charset="0"/>
                <a:ea typeface="Verdana" panose="020B0604030504040204" pitchFamily="34" charset="0"/>
                <a:cs typeface="Verdana" panose="020B0604030504040204" pitchFamily="34" charset="0"/>
              </a:rPr>
              <a:t>Skabe</a:t>
            </a:r>
            <a:r>
              <a:rPr lang="da-DK" sz="1050" kern="100" dirty="0">
                <a:latin typeface="Verdana" panose="020B0604030504040204" pitchFamily="34" charset="0"/>
                <a:ea typeface="Verdana" panose="020B0604030504040204" pitchFamily="34" charset="0"/>
                <a:cs typeface="Verdana" panose="020B0604030504040204" pitchFamily="34" charset="0"/>
              </a:rPr>
              <a:t>lonen kan bruges som det passer jer bedst - skabelonen kan bruges som den er, hvor egen tekst samt data kan tilføjes direkte, men den kan også bruges som inspiration. </a:t>
            </a:r>
          </a:p>
          <a:p>
            <a:pPr>
              <a:lnSpc>
                <a:spcPct val="107000"/>
              </a:lnSpc>
              <a:spcAft>
                <a:spcPts val="800"/>
              </a:spcAft>
              <a:buNone/>
            </a:pPr>
            <a:r>
              <a:rPr lang="da-DK" sz="1050" kern="100" dirty="0">
                <a:latin typeface="Verdana" panose="020B0604030504040204" pitchFamily="34" charset="0"/>
                <a:ea typeface="Verdana" panose="020B0604030504040204" pitchFamily="34" charset="0"/>
                <a:cs typeface="Verdana" panose="020B0604030504040204" pitchFamily="34" charset="0"/>
              </a:rPr>
              <a:t>Er der brug for at se et eksempel, kan et fiktivt eksempel baseret på skabelonen findes via </a:t>
            </a:r>
            <a:r>
              <a:rPr lang="da-DK" sz="1050" kern="100" dirty="0" err="1">
                <a:latin typeface="Verdana" panose="020B0604030504040204" pitchFamily="34" charset="0"/>
                <a:ea typeface="Verdana" panose="020B0604030504040204" pitchFamily="34" charset="0"/>
                <a:cs typeface="Verdana" panose="020B0604030504040204" pitchFamily="34" charset="0"/>
              </a:rPr>
              <a:t>AlmenKompas</a:t>
            </a:r>
            <a:r>
              <a:rPr lang="da-DK" sz="1050" kern="100" dirty="0">
                <a:latin typeface="Verdana" panose="020B0604030504040204" pitchFamily="34" charset="0"/>
                <a:ea typeface="Verdana" panose="020B0604030504040204" pitchFamily="34" charset="0"/>
                <a:cs typeface="Verdana" panose="020B0604030504040204" pitchFamily="34" charset="0"/>
              </a:rPr>
              <a:t>’ hjemmesiden.</a:t>
            </a:r>
            <a:endParaRPr lang="da-DK" sz="1050" kern="100" dirty="0">
              <a:effectLst/>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buNone/>
            </a:pPr>
            <a:r>
              <a:rPr lang="da-DK" sz="1050" kern="100" dirty="0">
                <a:effectLst/>
                <a:latin typeface="Verdana" panose="020B0604030504040204" pitchFamily="34" charset="0"/>
                <a:ea typeface="Verdana" panose="020B0604030504040204" pitchFamily="34" charset="0"/>
                <a:cs typeface="Verdana" panose="020B0604030504040204" pitchFamily="34" charset="0"/>
              </a:rPr>
              <a:t>Tekst, der er </a:t>
            </a:r>
            <a:r>
              <a:rPr lang="da-DK" sz="1050" i="1" kern="100" dirty="0">
                <a:solidFill>
                  <a:schemeClr val="bg1">
                    <a:lumMod val="50000"/>
                  </a:schemeClr>
                </a:solidFill>
                <a:effectLst/>
                <a:latin typeface="Verdana" panose="020B0604030504040204" pitchFamily="34" charset="0"/>
                <a:ea typeface="Verdana" panose="020B0604030504040204" pitchFamily="34" charset="0"/>
                <a:cs typeface="Verdana" panose="020B0604030504040204" pitchFamily="34" charset="0"/>
              </a:rPr>
              <a:t>gråt og markeret med skråskrift</a:t>
            </a:r>
            <a:r>
              <a:rPr lang="da-DK" sz="105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a:t>
            </a:r>
            <a:r>
              <a:rPr lang="da-DK" sz="1050" kern="100" dirty="0">
                <a:effectLst/>
                <a:latin typeface="Verdana" panose="020B0604030504040204" pitchFamily="34" charset="0"/>
                <a:ea typeface="Verdana" panose="020B0604030504040204" pitchFamily="34" charset="0"/>
                <a:cs typeface="Verdana" panose="020B0604030504040204" pitchFamily="34" charset="0"/>
              </a:rPr>
              <a:t>fungerer som vejledende indhold, som boligorganisationen selv kan udfylde og tilpasse efter behov eller slette. </a:t>
            </a:r>
            <a:r>
              <a:rPr lang="da-DK" sz="1050" kern="100" dirty="0">
                <a:latin typeface="Verdana" panose="020B0604030504040204" pitchFamily="34" charset="0"/>
                <a:ea typeface="Verdana" panose="020B0604030504040204" pitchFamily="34" charset="0"/>
                <a:cs typeface="Verdana" panose="020B0604030504040204" pitchFamily="34" charset="0"/>
              </a:rPr>
              <a:t>Resterende tekst </a:t>
            </a:r>
            <a:r>
              <a:rPr lang="da-DK" sz="1050" kern="100" dirty="0">
                <a:effectLst/>
                <a:latin typeface="Verdana" panose="020B0604030504040204" pitchFamily="34" charset="0"/>
                <a:ea typeface="Verdana" panose="020B0604030504040204" pitchFamily="34" charset="0"/>
                <a:cs typeface="Verdana" panose="020B0604030504040204" pitchFamily="34" charset="0"/>
              </a:rPr>
              <a:t>med sort</a:t>
            </a:r>
            <a:r>
              <a:rPr lang="da-DK" sz="1050" b="1" kern="100" dirty="0">
                <a:effectLst/>
                <a:latin typeface="Verdana" panose="020B0604030504040204" pitchFamily="34" charset="0"/>
                <a:ea typeface="Verdana" panose="020B0604030504040204" pitchFamily="34" charset="0"/>
                <a:cs typeface="Verdana" panose="020B0604030504040204" pitchFamily="34" charset="0"/>
              </a:rPr>
              <a:t>,</a:t>
            </a:r>
            <a:r>
              <a:rPr lang="da-DK" sz="1050" kern="100" dirty="0">
                <a:effectLst/>
                <a:latin typeface="Verdana" panose="020B0604030504040204" pitchFamily="34" charset="0"/>
                <a:ea typeface="Verdana" panose="020B0604030504040204" pitchFamily="34" charset="0"/>
                <a:cs typeface="Verdana" panose="020B0604030504040204" pitchFamily="34" charset="0"/>
              </a:rPr>
              <a:t> repræsenterer </a:t>
            </a:r>
            <a:r>
              <a:rPr lang="da-DK" sz="1050" kern="100" dirty="0" err="1">
                <a:effectLst/>
                <a:latin typeface="Verdana" panose="020B0604030504040204" pitchFamily="34" charset="0"/>
                <a:ea typeface="Verdana" panose="020B0604030504040204" pitchFamily="34" charset="0"/>
                <a:cs typeface="Verdana" panose="020B0604030504040204" pitchFamily="34" charset="0"/>
              </a:rPr>
              <a:t>AlmenKompas</a:t>
            </a:r>
            <a:r>
              <a:rPr lang="da-DK" sz="1050" kern="100" dirty="0">
                <a:effectLst/>
                <a:latin typeface="Verdana" panose="020B0604030504040204" pitchFamily="34" charset="0"/>
                <a:ea typeface="Verdana" panose="020B0604030504040204" pitchFamily="34" charset="0"/>
                <a:cs typeface="Verdana" panose="020B0604030504040204" pitchFamily="34" charset="0"/>
              </a:rPr>
              <a:t>’ kvalificerede forslag til formuleringer, der kan indgå direkte i rapporten.</a:t>
            </a:r>
            <a:endParaRPr lang="da-DK" sz="1050" kern="100" dirty="0">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buNone/>
            </a:pPr>
            <a:r>
              <a:rPr lang="da-DK" sz="1050" b="1" kern="100" dirty="0">
                <a:effectLst/>
                <a:latin typeface="Verdana" panose="020B0604030504040204" pitchFamily="34" charset="0"/>
                <a:ea typeface="Verdana" panose="020B0604030504040204" pitchFamily="34" charset="0"/>
                <a:cs typeface="Verdana" panose="020B0604030504040204" pitchFamily="34" charset="0"/>
              </a:rPr>
              <a:t>Gode tips &amp; anbefalinger til din ESG-rapport</a:t>
            </a:r>
            <a:endParaRPr lang="da-DK" sz="1050" kern="100" dirty="0">
              <a:effectLst/>
              <a:latin typeface="Verdana" panose="020B0604030504040204" pitchFamily="34" charset="0"/>
              <a:ea typeface="Verdana" panose="020B0604030504040204" pitchFamily="34" charset="0"/>
              <a:cs typeface="Verdana" panose="020B060403050404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da-DK" sz="1050" kern="100" dirty="0">
                <a:effectLst/>
                <a:latin typeface="Verdana" panose="020B0604030504040204" pitchFamily="34" charset="0"/>
                <a:ea typeface="Verdana" panose="020B0604030504040204" pitchFamily="34" charset="0"/>
                <a:cs typeface="Verdana" panose="020B0604030504040204" pitchFamily="34" charset="0"/>
              </a:rPr>
              <a:t>ESG-rapporten bør følge den gældende finansielle afgrænsning og finansielle periode i den relevante boligorganisation. </a:t>
            </a:r>
          </a:p>
          <a:p>
            <a:pPr marL="342900" lvl="0" indent="-342900">
              <a:lnSpc>
                <a:spcPct val="107000"/>
              </a:lnSpc>
              <a:spcAft>
                <a:spcPts val="800"/>
              </a:spcAft>
              <a:buFont typeface="Arial" panose="020B0604020202020204" pitchFamily="34" charset="0"/>
              <a:buChar char="•"/>
              <a:tabLst>
                <a:tab pos="457200" algn="l"/>
              </a:tabLst>
            </a:pPr>
            <a:r>
              <a:rPr lang="da-DK" sz="1050" kern="100" dirty="0">
                <a:effectLst/>
                <a:latin typeface="Verdana" panose="020B0604030504040204" pitchFamily="34" charset="0"/>
                <a:ea typeface="Verdana" panose="020B0604030504040204" pitchFamily="34" charset="0"/>
                <a:cs typeface="Verdana" panose="020B0604030504040204" pitchFamily="34" charset="0"/>
              </a:rPr>
              <a:t>ESG-rapporten bør beskrive de anvendte metoder til indsamling og behandling af ESG-data (inkl. finansielle nøgletal/data). Der henvises i øvrigt til Databeskrivelser</a:t>
            </a:r>
            <a:r>
              <a:rPr lang="da-DK" sz="1050" kern="100" dirty="0">
                <a:latin typeface="Verdana" panose="020B0604030504040204" pitchFamily="34" charset="0"/>
                <a:ea typeface="Verdana" panose="020B0604030504040204" pitchFamily="34" charset="0"/>
                <a:cs typeface="Verdana" panose="020B0604030504040204" pitchFamily="34" charset="0"/>
              </a:rPr>
              <a:t> der belyser den gældende regnskabspraksis, </a:t>
            </a:r>
            <a:r>
              <a:rPr lang="da-DK" sz="1050" kern="100" dirty="0">
                <a:effectLst/>
                <a:latin typeface="Verdana" panose="020B0604030504040204" pitchFamily="34" charset="0"/>
                <a:ea typeface="Verdana" panose="020B0604030504040204" pitchFamily="34" charset="0"/>
                <a:cs typeface="Verdana" panose="020B0604030504040204" pitchFamily="34" charset="0"/>
              </a:rPr>
              <a:t>som kan findes på Landsbyggefondens hjemmeside.</a:t>
            </a:r>
          </a:p>
          <a:p>
            <a:pPr marL="342900" lvl="0" indent="-342900">
              <a:lnSpc>
                <a:spcPct val="107000"/>
              </a:lnSpc>
              <a:spcAft>
                <a:spcPts val="800"/>
              </a:spcAft>
              <a:buFont typeface="Arial" panose="020B0604020202020204" pitchFamily="34" charset="0"/>
              <a:buChar char="•"/>
              <a:tabLst>
                <a:tab pos="457200" algn="l"/>
              </a:tabLst>
            </a:pPr>
            <a:r>
              <a:rPr lang="da-DK" sz="1050" kern="100" dirty="0">
                <a:latin typeface="Verdana" panose="020B0604030504040204" pitchFamily="34" charset="0"/>
                <a:ea typeface="Verdana" panose="020B0604030504040204" pitchFamily="34" charset="0"/>
                <a:cs typeface="Verdana" panose="020B0604030504040204" pitchFamily="34" charset="0"/>
              </a:rPr>
              <a:t>Det ka</a:t>
            </a:r>
            <a:r>
              <a:rPr lang="da-DK" sz="1050" kern="100" dirty="0">
                <a:effectLst/>
                <a:latin typeface="Verdana" panose="020B0604030504040204" pitchFamily="34" charset="0"/>
                <a:ea typeface="Verdana" panose="020B0604030504040204" pitchFamily="34" charset="0"/>
                <a:cs typeface="Verdana" panose="020B0604030504040204" pitchFamily="34" charset="0"/>
              </a:rPr>
              <a:t>n med fordel overvejes at integrere ESG tal (ESG-rapporten) som en del af </a:t>
            </a:r>
            <a:r>
              <a:rPr lang="da-DK" sz="1050" kern="100" dirty="0">
                <a:latin typeface="Verdana" panose="020B0604030504040204" pitchFamily="34" charset="0"/>
                <a:ea typeface="Verdana" panose="020B0604030504040204" pitchFamily="34" charset="0"/>
                <a:cs typeface="Verdana" panose="020B0604030504040204" pitchFamily="34" charset="0"/>
              </a:rPr>
              <a:t>boligorganisationens </a:t>
            </a:r>
            <a:r>
              <a:rPr lang="da-DK" sz="1050" kern="100" dirty="0">
                <a:effectLst/>
                <a:latin typeface="Verdana" panose="020B0604030504040204" pitchFamily="34" charset="0"/>
                <a:ea typeface="Verdana" panose="020B0604030504040204" pitchFamily="34" charset="0"/>
                <a:cs typeface="Verdana" panose="020B0604030504040204" pitchFamily="34" charset="0"/>
              </a:rPr>
              <a:t>årsrapportering og/eller ledelsesberetning for at understrege, hvordan arbejdet med ESG er en integreret del af virksomhedens øvrige aktiviteter og strategiske tiltag.</a:t>
            </a:r>
          </a:p>
          <a:p>
            <a:pPr marL="342900" lvl="0" indent="-342900">
              <a:lnSpc>
                <a:spcPct val="107000"/>
              </a:lnSpc>
              <a:spcAft>
                <a:spcPts val="800"/>
              </a:spcAft>
              <a:buFont typeface="Arial" panose="020B0604020202020204" pitchFamily="34" charset="0"/>
              <a:buChar char="•"/>
              <a:tabLst>
                <a:tab pos="457200" algn="l"/>
              </a:tabLst>
            </a:pPr>
            <a:r>
              <a:rPr lang="da-DK" sz="1050" kern="100" dirty="0">
                <a:effectLst/>
                <a:latin typeface="Verdana" panose="020B0604030504040204" pitchFamily="34" charset="0"/>
                <a:ea typeface="Verdana" panose="020B0604030504040204" pitchFamily="34" charset="0"/>
                <a:cs typeface="Verdana" panose="020B0604030504040204" pitchFamily="34" charset="0"/>
              </a:rPr>
              <a:t>ESG-hoved- og nøgletal (data) bør ikke stå alene. Det anbefales at forklare, uddybe og begrunde handlingsplaner, indsatser, historiske udviklinger og målsætninger inden for alle områder i din ESG-rapport.</a:t>
            </a:r>
          </a:p>
        </p:txBody>
      </p:sp>
      <p:sp>
        <p:nvSpPr>
          <p:cNvPr id="6" name="Tekstfelt 6">
            <a:extLst>
              <a:ext uri="{FF2B5EF4-FFF2-40B4-BE49-F238E27FC236}">
                <a16:creationId xmlns:a16="http://schemas.microsoft.com/office/drawing/2014/main" id="{0B2013EA-D9C2-04F3-A139-1F2925D84ABA}"/>
              </a:ext>
            </a:extLst>
          </p:cNvPr>
          <p:cNvSpPr txBox="1"/>
          <p:nvPr/>
        </p:nvSpPr>
        <p:spPr>
          <a:xfrm>
            <a:off x="607565" y="1177728"/>
            <a:ext cx="5216575" cy="5116850"/>
          </a:xfrm>
          <a:prstGeom prst="rect">
            <a:avLst/>
          </a:prstGeom>
          <a:noFill/>
        </p:spPr>
        <p:txBody>
          <a:bodyPr wrap="square">
            <a:spAutoFit/>
          </a:bodyPr>
          <a:lstStyle/>
          <a:p>
            <a:pPr>
              <a:lnSpc>
                <a:spcPct val="107000"/>
              </a:lnSpc>
              <a:spcAft>
                <a:spcPts val="800"/>
              </a:spcAft>
              <a:buNone/>
            </a:pPr>
            <a:r>
              <a:rPr lang="da-DK" sz="1050" kern="100" dirty="0">
                <a:latin typeface="Verdana" panose="020B0604030504040204" pitchFamily="34" charset="0"/>
                <a:ea typeface="Verdana" panose="020B0604030504040204" pitchFamily="34" charset="0"/>
                <a:cs typeface="Verdana" panose="020B0604030504040204" pitchFamily="34" charset="0"/>
              </a:rPr>
              <a:t>Denne skabelon er udarbejdet af </a:t>
            </a:r>
            <a:r>
              <a:rPr lang="da-DK" sz="1050" kern="100" dirty="0" err="1">
                <a:latin typeface="Verdana" panose="020B0604030504040204" pitchFamily="34" charset="0"/>
                <a:ea typeface="Verdana" panose="020B0604030504040204" pitchFamily="34" charset="0"/>
                <a:cs typeface="Verdana" panose="020B0604030504040204" pitchFamily="34" charset="0"/>
              </a:rPr>
              <a:t>AlmenKompas</a:t>
            </a:r>
            <a:r>
              <a:rPr lang="da-DK" sz="1050" kern="100" dirty="0">
                <a:latin typeface="Verdana" panose="020B0604030504040204" pitchFamily="34" charset="0"/>
                <a:ea typeface="Verdana" panose="020B0604030504040204" pitchFamily="34" charset="0"/>
                <a:cs typeface="Verdana" panose="020B0604030504040204" pitchFamily="34" charset="0"/>
              </a:rPr>
              <a:t>, og kan bruges som inspiration til opbygning af jeres ESG rapport som boligorganisation. Skabelonen giver inspiration til, hvordan rapporten kan struktureres, hvad den kan indeholde, og hvordan den afspejler branchens praksis og standarder. Skabelonen er udarbejdet i samarbejde med relevante repræsentanter fra branchen, herunder X, Y og Z.</a:t>
            </a:r>
          </a:p>
          <a:p>
            <a:pPr>
              <a:lnSpc>
                <a:spcPct val="107000"/>
              </a:lnSpc>
              <a:spcAft>
                <a:spcPts val="800"/>
              </a:spcAft>
              <a:buNone/>
            </a:pPr>
            <a:r>
              <a:rPr lang="da-DK" sz="1050" b="1" kern="100" dirty="0">
                <a:latin typeface="Verdana" panose="020B0604030504040204" pitchFamily="34" charset="0"/>
                <a:ea typeface="Verdana" panose="020B0604030504040204" pitchFamily="34" charset="0"/>
                <a:cs typeface="Verdana" panose="020B0604030504040204" pitchFamily="34" charset="0"/>
              </a:rPr>
              <a:t>Målgruppe </a:t>
            </a:r>
          </a:p>
          <a:p>
            <a:pPr>
              <a:lnSpc>
                <a:spcPct val="107000"/>
              </a:lnSpc>
              <a:spcAft>
                <a:spcPts val="800"/>
              </a:spcAft>
              <a:buNone/>
            </a:pPr>
            <a:r>
              <a:rPr lang="da-DK" sz="1050" kern="100" dirty="0">
                <a:latin typeface="Verdana" panose="020B0604030504040204" pitchFamily="34" charset="0"/>
                <a:ea typeface="Verdana" panose="020B0604030504040204" pitchFamily="34" charset="0"/>
                <a:cs typeface="Verdana" panose="020B0604030504040204" pitchFamily="34" charset="0"/>
              </a:rPr>
              <a:t>ESG-rapporten kan bruges til at vise jeres fremskridt og skabe gennemsigtighed for bestyrelse, beboere og samarbejdspartnere. Vær opmærksom på, hvem der er modtagerne af jeres ESG-rapporten ift., formuleringer.</a:t>
            </a:r>
          </a:p>
          <a:p>
            <a:pPr>
              <a:lnSpc>
                <a:spcPct val="107000"/>
              </a:lnSpc>
              <a:spcAft>
                <a:spcPts val="800"/>
              </a:spcAft>
              <a:buNone/>
            </a:pPr>
            <a:r>
              <a:rPr lang="da-DK" sz="1050" b="1" kern="100" dirty="0">
                <a:latin typeface="Verdana" panose="020B0604030504040204" pitchFamily="34" charset="0"/>
                <a:ea typeface="Verdana" panose="020B0604030504040204" pitchFamily="34" charset="0"/>
                <a:cs typeface="Verdana" panose="020B0604030504040204" pitchFamily="34" charset="0"/>
              </a:rPr>
              <a:t>Formålet med en ESG-rapport</a:t>
            </a:r>
          </a:p>
          <a:p>
            <a:pPr>
              <a:lnSpc>
                <a:spcPct val="107000"/>
              </a:lnSpc>
              <a:spcAft>
                <a:spcPts val="800"/>
              </a:spcAft>
              <a:buNone/>
            </a:pPr>
            <a:r>
              <a:rPr lang="da-DK" sz="1050" kern="100" dirty="0">
                <a:latin typeface="Verdana" panose="020B0604030504040204" pitchFamily="34" charset="0"/>
                <a:ea typeface="Verdana" panose="020B0604030504040204" pitchFamily="34" charset="0"/>
                <a:cs typeface="Verdana" panose="020B0604030504040204" pitchFamily="34" charset="0"/>
              </a:rPr>
              <a:t>Ønskes det at integrere ESG (</a:t>
            </a:r>
            <a:r>
              <a:rPr lang="da-DK" sz="1050" kern="100" dirty="0" err="1">
                <a:latin typeface="Verdana" panose="020B0604030504040204" pitchFamily="34" charset="0"/>
                <a:ea typeface="Verdana" panose="020B0604030504040204" pitchFamily="34" charset="0"/>
                <a:cs typeface="Verdana" panose="020B0604030504040204" pitchFamily="34" charset="0"/>
              </a:rPr>
              <a:t>Environmental</a:t>
            </a:r>
            <a:r>
              <a:rPr lang="da-DK" sz="1050" kern="100" dirty="0">
                <a:latin typeface="Verdana" panose="020B0604030504040204" pitchFamily="34" charset="0"/>
                <a:ea typeface="Verdana" panose="020B0604030504040204" pitchFamily="34" charset="0"/>
                <a:cs typeface="Verdana" panose="020B0604030504040204" pitchFamily="34" charset="0"/>
              </a:rPr>
              <a:t>, Social, and Governance) i jeres årsrapport, kan dette værktøj ligeledes anvendes som guide til at identificere, hvilke konkrete elementer der kan inkluderes i jeres ESG-opgørelse. </a:t>
            </a:r>
          </a:p>
          <a:p>
            <a:pPr>
              <a:lnSpc>
                <a:spcPct val="107000"/>
              </a:lnSpc>
              <a:spcAft>
                <a:spcPts val="800"/>
              </a:spcAft>
              <a:buNone/>
            </a:pPr>
            <a:r>
              <a:rPr lang="da-DK" sz="1050" kern="100" dirty="0">
                <a:latin typeface="Verdana" panose="020B0604030504040204" pitchFamily="34" charset="0"/>
                <a:ea typeface="Verdana" panose="020B0604030504040204" pitchFamily="34" charset="0"/>
                <a:cs typeface="Verdana" panose="020B0604030504040204" pitchFamily="34" charset="0"/>
              </a:rPr>
              <a:t>Det er ikke et lovkrav, men værktøjet kan bidrage til at styrke jeres rapporteringspraksis og transparens i forhold til bæredygtighed. Derudover kan en ESG-rapport anvendes i forbindelse med forvaltningsrevision i form af at fremhæve boligorganisationens tilgang til ESG, samt hvilke konkrete tiltag der arbejdes med. </a:t>
            </a:r>
          </a:p>
          <a:p>
            <a:pPr>
              <a:lnSpc>
                <a:spcPct val="107000"/>
              </a:lnSpc>
              <a:spcAft>
                <a:spcPts val="800"/>
              </a:spcAft>
              <a:buNone/>
            </a:pPr>
            <a:r>
              <a:rPr lang="da-DK" sz="1050" kern="100" dirty="0">
                <a:latin typeface="Verdana" panose="020B0604030504040204" pitchFamily="34" charset="0"/>
                <a:ea typeface="Verdana" panose="020B0604030504040204" pitchFamily="34" charset="0"/>
                <a:cs typeface="Verdana" panose="020B0604030504040204" pitchFamily="34" charset="0"/>
              </a:rPr>
              <a:t>Desuden kan ESG rapporten bruges som en del af den årlige ledelsesberetning, som boligorganisationen aflægger i forbindelse med årsregnskab. </a:t>
            </a:r>
          </a:p>
          <a:p>
            <a:pPr marL="342900" lvl="0" indent="-342900">
              <a:lnSpc>
                <a:spcPct val="107000"/>
              </a:lnSpc>
              <a:spcAft>
                <a:spcPts val="800"/>
              </a:spcAft>
              <a:buFont typeface="Arial" panose="020B0604020202020204" pitchFamily="34" charset="0"/>
              <a:buChar char="•"/>
              <a:tabLst>
                <a:tab pos="457200" algn="l"/>
              </a:tabLst>
            </a:pPr>
            <a:endParaRPr lang="da-DK" sz="1050" kern="100" dirty="0">
              <a:effectLst/>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17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F1774-6FDC-778B-7818-A92BC255BDD9}"/>
            </a:ext>
          </a:extLst>
        </p:cNvPr>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411C33F6-9F96-894F-BEDA-0FDA9F7E5214}"/>
              </a:ext>
            </a:extLst>
          </p:cNvPr>
          <p:cNvSpPr/>
          <p:nvPr/>
        </p:nvSpPr>
        <p:spPr>
          <a:xfrm>
            <a:off x="522891" y="3350415"/>
            <a:ext cx="2412000" cy="268404"/>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72" name="Rectangle: Rounded Corners 71">
            <a:extLst>
              <a:ext uri="{FF2B5EF4-FFF2-40B4-BE49-F238E27FC236}">
                <a16:creationId xmlns:a16="http://schemas.microsoft.com/office/drawing/2014/main" id="{21B52B99-37CD-331E-1906-148498F525CA}"/>
              </a:ext>
            </a:extLst>
          </p:cNvPr>
          <p:cNvSpPr/>
          <p:nvPr/>
        </p:nvSpPr>
        <p:spPr>
          <a:xfrm>
            <a:off x="3054185" y="3350415"/>
            <a:ext cx="2412000" cy="268404"/>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80" name="Rectangle: Rounded Corners 79">
            <a:extLst>
              <a:ext uri="{FF2B5EF4-FFF2-40B4-BE49-F238E27FC236}">
                <a16:creationId xmlns:a16="http://schemas.microsoft.com/office/drawing/2014/main" id="{84D3B4D0-00FF-D03F-CC2B-4B7E027AE815}"/>
              </a:ext>
            </a:extLst>
          </p:cNvPr>
          <p:cNvSpPr/>
          <p:nvPr/>
        </p:nvSpPr>
        <p:spPr>
          <a:xfrm>
            <a:off x="5638721" y="3366016"/>
            <a:ext cx="2412000" cy="268404"/>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21" name="Rektangel: afrundede hjørner 19">
            <a:extLst>
              <a:ext uri="{FF2B5EF4-FFF2-40B4-BE49-F238E27FC236}">
                <a16:creationId xmlns:a16="http://schemas.microsoft.com/office/drawing/2014/main" id="{43F0F0B0-8C25-25C3-2C9D-445C763905D9}"/>
              </a:ext>
            </a:extLst>
          </p:cNvPr>
          <p:cNvSpPr/>
          <p:nvPr/>
        </p:nvSpPr>
        <p:spPr>
          <a:xfrm>
            <a:off x="0" y="1822675"/>
            <a:ext cx="12192000" cy="72645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52000" tIns="144000" rIns="91440" bIns="45720" rtlCol="0" anchor="t">
            <a:noAutofit/>
          </a:bodyPr>
          <a:lstStyle>
            <a:defPPr>
              <a:defRPr lang="en-DK"/>
            </a:defPPr>
            <a:lvl1pPr marL="0" algn="l" defTabSz="914400" rtl="0" eaLnBrk="1" latinLnBrk="0" hangingPunct="1">
              <a:defRPr sz="1800" kern="1200">
                <a:solidFill>
                  <a:srgbClr val="FFFFFF"/>
                </a:solidFill>
                <a:latin typeface="DM Sans 14pt"/>
                <a:ea typeface="+mn-ea"/>
                <a:cs typeface="+mn-cs"/>
              </a:defRPr>
            </a:lvl1pPr>
            <a:lvl2pPr marL="457200" algn="l" defTabSz="914400" rtl="0" eaLnBrk="1" latinLnBrk="0" hangingPunct="1">
              <a:defRPr sz="1800" kern="1200">
                <a:solidFill>
                  <a:srgbClr val="FFFFFF"/>
                </a:solidFill>
                <a:latin typeface="DM Sans 14pt"/>
                <a:ea typeface="+mn-ea"/>
                <a:cs typeface="+mn-cs"/>
              </a:defRPr>
            </a:lvl2pPr>
            <a:lvl3pPr marL="914400" algn="l" defTabSz="914400" rtl="0" eaLnBrk="1" latinLnBrk="0" hangingPunct="1">
              <a:defRPr sz="1800" kern="1200">
                <a:solidFill>
                  <a:srgbClr val="FFFFFF"/>
                </a:solidFill>
                <a:latin typeface="DM Sans 14pt"/>
                <a:ea typeface="+mn-ea"/>
                <a:cs typeface="+mn-cs"/>
              </a:defRPr>
            </a:lvl3pPr>
            <a:lvl4pPr marL="1371600" algn="l" defTabSz="914400" rtl="0" eaLnBrk="1" latinLnBrk="0" hangingPunct="1">
              <a:defRPr sz="1800" kern="1200">
                <a:solidFill>
                  <a:srgbClr val="FFFFFF"/>
                </a:solidFill>
                <a:latin typeface="DM Sans 14pt"/>
                <a:ea typeface="+mn-ea"/>
                <a:cs typeface="+mn-cs"/>
              </a:defRPr>
            </a:lvl4pPr>
            <a:lvl5pPr marL="1828800" algn="l" defTabSz="914400" rtl="0" eaLnBrk="1" latinLnBrk="0" hangingPunct="1">
              <a:defRPr sz="1800" kern="1200">
                <a:solidFill>
                  <a:srgbClr val="FFFFFF"/>
                </a:solidFill>
                <a:latin typeface="DM Sans 14pt"/>
                <a:ea typeface="+mn-ea"/>
                <a:cs typeface="+mn-cs"/>
              </a:defRPr>
            </a:lvl5pPr>
            <a:lvl6pPr marL="2286000" algn="l" defTabSz="914400" rtl="0" eaLnBrk="1" latinLnBrk="0" hangingPunct="1">
              <a:defRPr sz="1800" kern="1200">
                <a:solidFill>
                  <a:srgbClr val="FFFFFF"/>
                </a:solidFill>
                <a:latin typeface="DM Sans 14pt"/>
                <a:ea typeface="+mn-ea"/>
                <a:cs typeface="+mn-cs"/>
              </a:defRPr>
            </a:lvl6pPr>
            <a:lvl7pPr marL="2743200" algn="l" defTabSz="914400" rtl="0" eaLnBrk="1" latinLnBrk="0" hangingPunct="1">
              <a:defRPr sz="1800" kern="1200">
                <a:solidFill>
                  <a:srgbClr val="FFFFFF"/>
                </a:solidFill>
                <a:latin typeface="DM Sans 14pt"/>
                <a:ea typeface="+mn-ea"/>
                <a:cs typeface="+mn-cs"/>
              </a:defRPr>
            </a:lvl7pPr>
            <a:lvl8pPr marL="3200400" algn="l" defTabSz="914400" rtl="0" eaLnBrk="1" latinLnBrk="0" hangingPunct="1">
              <a:defRPr sz="1800" kern="1200">
                <a:solidFill>
                  <a:srgbClr val="FFFFFF"/>
                </a:solidFill>
                <a:latin typeface="DM Sans 14pt"/>
                <a:ea typeface="+mn-ea"/>
                <a:cs typeface="+mn-cs"/>
              </a:defRPr>
            </a:lvl8pPr>
            <a:lvl9pPr marL="3657600" algn="l" defTabSz="914400" rtl="0" eaLnBrk="1" latinLnBrk="0" hangingPunct="1">
              <a:defRPr sz="1800" kern="1200">
                <a:solidFill>
                  <a:srgbClr val="FFFFFF"/>
                </a:solidFill>
                <a:latin typeface="DM Sans 14pt"/>
                <a:ea typeface="+mn-ea"/>
                <a:cs typeface="+mn-cs"/>
              </a:defRPr>
            </a:lvl9pPr>
          </a:lstStyle>
          <a:p>
            <a:pPr algn="ctr" defTabSz="914218">
              <a:defRPr/>
            </a:pPr>
            <a:endParaRPr lang="da-DK" sz="1200" b="1">
              <a:solidFill>
                <a:srgbClr val="242E5E"/>
              </a:solidFill>
              <a:latin typeface="Verdana" panose="020B0604030504040204" pitchFamily="34" charset="0"/>
              <a:ea typeface="Verdana" panose="020B0604030504040204" pitchFamily="34" charset="0"/>
            </a:endParaRPr>
          </a:p>
          <a:p>
            <a:pPr lvl="0">
              <a:defRPr/>
            </a:pPr>
            <a:endParaRPr lang="da-DK" sz="1200" b="1">
              <a:solidFill>
                <a:prstClr val="black"/>
              </a:solidFill>
              <a:latin typeface="Verdana" panose="020B0604030504040204" pitchFamily="34" charset="0"/>
              <a:ea typeface="Verdana" panose="020B0604030504040204" pitchFamily="34" charset="0"/>
            </a:endParaRPr>
          </a:p>
          <a:p>
            <a:pPr algn="ctr" defTabSz="914218">
              <a:defRPr/>
            </a:pPr>
            <a:endParaRPr lang="da-DK" sz="1200" b="1">
              <a:solidFill>
                <a:srgbClr val="242E5E"/>
              </a:solidFill>
              <a:latin typeface="Verdana" panose="020B0604030504040204" pitchFamily="34" charset="0"/>
              <a:ea typeface="Verdana" panose="020B0604030504040204" pitchFamily="34" charset="0"/>
            </a:endParaRPr>
          </a:p>
        </p:txBody>
      </p:sp>
      <p:graphicFrame>
        <p:nvGraphicFramePr>
          <p:cNvPr id="4" name="think-cell data - do not delete" hidden="1">
            <a:extLst>
              <a:ext uri="{FF2B5EF4-FFF2-40B4-BE49-F238E27FC236}">
                <a16:creationId xmlns:a16="http://schemas.microsoft.com/office/drawing/2014/main" id="{F7A8882F-7BED-5869-448C-0A0F991CBCF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F7A8882F-7BED-5869-448C-0A0F991CBCF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Pladsholder til slidenummer 4">
            <a:extLst>
              <a:ext uri="{FF2B5EF4-FFF2-40B4-BE49-F238E27FC236}">
                <a16:creationId xmlns:a16="http://schemas.microsoft.com/office/drawing/2014/main" id="{766EB968-1C79-9962-22D1-C5F22355E981}"/>
              </a:ext>
            </a:extLst>
          </p:cNvPr>
          <p:cNvSpPr>
            <a:spLocks noGrp="1"/>
          </p:cNvSpPr>
          <p:nvPr>
            <p:ph type="sldNum" sz="quarter" idx="12"/>
          </p:nvPr>
        </p:nvSpPr>
        <p:spPr/>
        <p:txBody>
          <a:bodyPr/>
          <a:lstStyle/>
          <a:p>
            <a:fld id="{D1CF6110-3358-3240-B3E6-2B2529506D05}" type="slidenum">
              <a:rPr lang="da-DK" smtClean="0"/>
              <a:t>10</a:t>
            </a:fld>
            <a:endParaRPr lang="da-DK"/>
          </a:p>
        </p:txBody>
      </p:sp>
      <p:sp>
        <p:nvSpPr>
          <p:cNvPr id="9" name="Title 1">
            <a:extLst>
              <a:ext uri="{FF2B5EF4-FFF2-40B4-BE49-F238E27FC236}">
                <a16:creationId xmlns:a16="http://schemas.microsoft.com/office/drawing/2014/main" id="{F53D8C31-D515-94E9-9672-47A0F74B7DE4}"/>
              </a:ext>
            </a:extLst>
          </p:cNvPr>
          <p:cNvSpPr>
            <a:spLocks noGrp="1"/>
          </p:cNvSpPr>
          <p:nvPr>
            <p:ph type="title"/>
          </p:nvPr>
        </p:nvSpPr>
        <p:spPr>
          <a:xfrm>
            <a:off x="522889" y="500062"/>
            <a:ext cx="10830911" cy="1325563"/>
          </a:xfrm>
        </p:spPr>
        <p:txBody>
          <a:bodyPr vert="horz">
            <a:normAutofit/>
          </a:bodyPr>
          <a:lstStyle/>
          <a:p>
            <a:r>
              <a:rPr lang="da-DK" sz="4000" dirty="0">
                <a:solidFill>
                  <a:srgbClr val="005850"/>
                </a:solidFill>
                <a:latin typeface="Verdana" panose="020B0604030504040204" pitchFamily="34" charset="0"/>
                <a:ea typeface="Verdana" panose="020B0604030504040204" pitchFamily="34" charset="0"/>
              </a:rPr>
              <a:t>[Boligorganisations] prioriterede målepunkter</a:t>
            </a:r>
          </a:p>
        </p:txBody>
      </p:sp>
      <p:sp>
        <p:nvSpPr>
          <p:cNvPr id="22" name="Rectangle: Rounded Corners 21">
            <a:extLst>
              <a:ext uri="{FF2B5EF4-FFF2-40B4-BE49-F238E27FC236}">
                <a16:creationId xmlns:a16="http://schemas.microsoft.com/office/drawing/2014/main" id="{0D90A66A-8063-0139-B619-AE46B7FB128C}"/>
              </a:ext>
            </a:extLst>
          </p:cNvPr>
          <p:cNvSpPr/>
          <p:nvPr/>
        </p:nvSpPr>
        <p:spPr>
          <a:xfrm rot="16200000" flipH="1">
            <a:off x="7356775" y="2626673"/>
            <a:ext cx="2200820"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da-DK" sz="1200" b="1" noProof="0">
                <a:solidFill>
                  <a:schemeClr val="tx1"/>
                </a:solidFill>
                <a:latin typeface="Verdana" panose="020B0604030504040204" pitchFamily="34" charset="0"/>
                <a:ea typeface="Verdana" panose="020B0604030504040204" pitchFamily="34" charset="0"/>
              </a:rPr>
              <a:t>Prioriteringsmatrix </a:t>
            </a:r>
          </a:p>
        </p:txBody>
      </p:sp>
      <p:sp>
        <p:nvSpPr>
          <p:cNvPr id="23" name="Rectangle: Rounded Corners 22">
            <a:extLst>
              <a:ext uri="{FF2B5EF4-FFF2-40B4-BE49-F238E27FC236}">
                <a16:creationId xmlns:a16="http://schemas.microsoft.com/office/drawing/2014/main" id="{8C8456FF-5AFE-6DCE-5EDF-B9E98EB008FC}"/>
              </a:ext>
            </a:extLst>
          </p:cNvPr>
          <p:cNvSpPr/>
          <p:nvPr/>
        </p:nvSpPr>
        <p:spPr>
          <a:xfrm rot="16200000" flipH="1">
            <a:off x="7395714" y="4966426"/>
            <a:ext cx="2120802"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da-DK" sz="1200" b="1" noProof="0">
                <a:solidFill>
                  <a:schemeClr val="tx1"/>
                </a:solidFill>
                <a:latin typeface="Verdana" panose="020B0604030504040204" pitchFamily="34" charset="0"/>
                <a:ea typeface="Verdana" panose="020B0604030504040204" pitchFamily="34" charset="0"/>
              </a:rPr>
              <a:t>Prioriterede målepunkter </a:t>
            </a:r>
          </a:p>
        </p:txBody>
      </p:sp>
      <p:sp>
        <p:nvSpPr>
          <p:cNvPr id="3" name="Tekstfelt 2">
            <a:extLst>
              <a:ext uri="{FF2B5EF4-FFF2-40B4-BE49-F238E27FC236}">
                <a16:creationId xmlns:a16="http://schemas.microsoft.com/office/drawing/2014/main" id="{A6D9BED4-64C2-8159-43F9-A8579380B6D9}"/>
              </a:ext>
            </a:extLst>
          </p:cNvPr>
          <p:cNvSpPr txBox="1"/>
          <p:nvPr/>
        </p:nvSpPr>
        <p:spPr>
          <a:xfrm>
            <a:off x="533831" y="1757155"/>
            <a:ext cx="7405709" cy="619721"/>
          </a:xfrm>
          <a:prstGeom prst="rect">
            <a:avLst/>
          </a:prstGeom>
          <a:noFill/>
        </p:spPr>
        <p:txBody>
          <a:bodyPr wrap="square" lIns="91440" tIns="45720" rIns="91440" bIns="45720" anchor="t">
            <a:spAutoFit/>
          </a:bodyPr>
          <a:lstStyle/>
          <a:p>
            <a:pPr>
              <a:lnSpc>
                <a:spcPct val="107000"/>
              </a:lnSpc>
              <a:spcAft>
                <a:spcPts val="800"/>
              </a:spcAft>
              <a:buNone/>
            </a:pPr>
            <a:r>
              <a:rPr lang="da-DK" sz="1100" i="1" kern="100" dirty="0">
                <a:solidFill>
                  <a:schemeClr val="bg1">
                    <a:lumMod val="50000"/>
                  </a:schemeClr>
                </a:solidFill>
                <a:effectLst/>
                <a:latin typeface="Verdana" panose="020B0604030504040204" pitchFamily="34" charset="0"/>
                <a:ea typeface="Verdana" panose="020B0604030504040204" pitchFamily="34" charset="0"/>
                <a:cs typeface="Arial"/>
              </a:rPr>
              <a:t>Beskriv hvordan </a:t>
            </a: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I har udvalgt målepunkterne evt. ved hjælp af prioriteringsworkshoppen (se </a:t>
            </a:r>
            <a:r>
              <a:rPr lang="da-DK" sz="1100" i="1" kern="100" dirty="0" err="1">
                <a:solidFill>
                  <a:schemeClr val="bg1">
                    <a:lumMod val="50000"/>
                  </a:schemeClr>
                </a:solidFill>
                <a:latin typeface="Verdana" panose="020B0604030504040204" pitchFamily="34" charset="0"/>
                <a:ea typeface="Verdana" panose="020B0604030504040204" pitchFamily="34" charset="0"/>
                <a:cs typeface="Arial"/>
              </a:rPr>
              <a:t>AlmenKompas</a:t>
            </a: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 trin 2 på hjemmesiden), beskriv også værdiskabelse og undgåelse af mitigerende risici, som I har prioriteret ud fra. </a:t>
            </a:r>
            <a:endParaRPr lang="da-DK" sz="1100" i="1" kern="100" dirty="0">
              <a:solidFill>
                <a:schemeClr val="bg1">
                  <a:lumMod val="50000"/>
                </a:schemeClr>
              </a:solidFill>
              <a:effectLst/>
              <a:latin typeface="Verdana" panose="020B0604030504040204" pitchFamily="34" charset="0"/>
              <a:ea typeface="Verdana" panose="020B0604030504040204" pitchFamily="34" charset="0"/>
              <a:cs typeface="Arial"/>
            </a:endParaRPr>
          </a:p>
        </p:txBody>
      </p:sp>
      <p:sp>
        <p:nvSpPr>
          <p:cNvPr id="30" name="Rectangle: Rounded Corners 62">
            <a:extLst>
              <a:ext uri="{FF2B5EF4-FFF2-40B4-BE49-F238E27FC236}">
                <a16:creationId xmlns:a16="http://schemas.microsoft.com/office/drawing/2014/main" id="{36757CFA-D78A-02A8-3345-1D8E0D0EFF31}"/>
              </a:ext>
            </a:extLst>
          </p:cNvPr>
          <p:cNvSpPr/>
          <p:nvPr/>
        </p:nvSpPr>
        <p:spPr>
          <a:xfrm>
            <a:off x="1358230" y="2959551"/>
            <a:ext cx="511679" cy="2262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defTabSz="960120" rtl="0" eaLnBrk="1" fontAlgn="auto" latinLnBrk="0" hangingPunct="1">
              <a:lnSpc>
                <a:spcPct val="100000"/>
              </a:lnSpc>
              <a:spcBef>
                <a:spcPts val="0"/>
              </a:spcBef>
              <a:spcAft>
                <a:spcPts val="0"/>
              </a:spcAft>
              <a:buClrTx/>
              <a:buSzTx/>
              <a:buFontTx/>
              <a:buNone/>
              <a:tabLst/>
              <a:defRPr/>
            </a:pPr>
            <a:r>
              <a:rPr kumimoji="0" lang="da-DK" sz="1470" b="1" i="0" u="none" strike="noStrike" kern="1200" cap="none" spc="0" normalizeH="0" baseline="0" noProof="0" dirty="0">
                <a:ln>
                  <a:noFill/>
                </a:ln>
                <a:solidFill>
                  <a:srgbClr val="005950"/>
                </a:solidFill>
                <a:effectLst/>
                <a:uLnTx/>
                <a:uFillTx/>
                <a:latin typeface="Verdana" panose="020B0604030504040204" pitchFamily="34" charset="0"/>
                <a:ea typeface="Verdana" panose="020B0604030504040204" pitchFamily="34" charset="0"/>
              </a:rPr>
              <a:t>Miljø</a:t>
            </a:r>
          </a:p>
        </p:txBody>
      </p:sp>
      <p:grpSp>
        <p:nvGrpSpPr>
          <p:cNvPr id="33" name="Group 330">
            <a:extLst>
              <a:ext uri="{FF2B5EF4-FFF2-40B4-BE49-F238E27FC236}">
                <a16:creationId xmlns:a16="http://schemas.microsoft.com/office/drawing/2014/main" id="{FBA8CAB0-7021-5F1E-EA0D-CC015BF2064C}"/>
              </a:ext>
            </a:extLst>
          </p:cNvPr>
          <p:cNvGrpSpPr/>
          <p:nvPr/>
        </p:nvGrpSpPr>
        <p:grpSpPr>
          <a:xfrm>
            <a:off x="522890" y="2701820"/>
            <a:ext cx="720000" cy="720000"/>
            <a:chOff x="4156082" y="-3024236"/>
            <a:chExt cx="2183420" cy="2200431"/>
          </a:xfrm>
        </p:grpSpPr>
        <p:sp>
          <p:nvSpPr>
            <p:cNvPr id="34" name="Freeform: Shape 328">
              <a:extLst>
                <a:ext uri="{FF2B5EF4-FFF2-40B4-BE49-F238E27FC236}">
                  <a16:creationId xmlns:a16="http://schemas.microsoft.com/office/drawing/2014/main" id="{A9BD5436-A018-E8C3-5691-DBD6D095C9F2}"/>
                </a:ext>
              </a:extLst>
            </p:cNvPr>
            <p:cNvSpPr/>
            <p:nvPr/>
          </p:nvSpPr>
          <p:spPr>
            <a:xfrm>
              <a:off x="4189262" y="-2967694"/>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solidFill>
              <a:srgbClr val="339C91"/>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200" b="1">
                  <a:solidFill>
                    <a:schemeClr val="bg1"/>
                  </a:solidFill>
                  <a:latin typeface="Verdana" panose="020B0604030504040204" pitchFamily="34" charset="0"/>
                  <a:ea typeface="Verdana" panose="020B0604030504040204" pitchFamily="34" charset="0"/>
                </a:rPr>
                <a:t>E</a:t>
              </a:r>
            </a:p>
          </p:txBody>
        </p:sp>
        <p:sp>
          <p:nvSpPr>
            <p:cNvPr id="35" name="Freeform: Shape 329">
              <a:extLst>
                <a:ext uri="{FF2B5EF4-FFF2-40B4-BE49-F238E27FC236}">
                  <a16:creationId xmlns:a16="http://schemas.microsoft.com/office/drawing/2014/main" id="{EACA6C06-85A6-3558-A5AB-F59E5870A0A1}"/>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noFill/>
            <a:ln w="5213" cap="flat">
              <a:solidFill>
                <a:schemeClr val="accent1">
                  <a:lumMod val="90000"/>
                  <a:lumOff val="10000"/>
                </a:schemeClr>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000" b="1">
                <a:solidFill>
                  <a:schemeClr val="bg1"/>
                </a:solidFill>
                <a:latin typeface="Verdana" panose="020B0604030504040204" pitchFamily="34" charset="0"/>
                <a:ea typeface="Verdana" panose="020B0604030504040204" pitchFamily="34" charset="0"/>
              </a:endParaRPr>
            </a:p>
          </p:txBody>
        </p:sp>
      </p:grpSp>
      <p:sp>
        <p:nvSpPr>
          <p:cNvPr id="36" name="Rectangle: Rounded Corners 35">
            <a:extLst>
              <a:ext uri="{FF2B5EF4-FFF2-40B4-BE49-F238E27FC236}">
                <a16:creationId xmlns:a16="http://schemas.microsoft.com/office/drawing/2014/main" id="{EEE2F31F-F479-6573-FBFB-38633796C48F}"/>
              </a:ext>
            </a:extLst>
          </p:cNvPr>
          <p:cNvSpPr/>
          <p:nvPr/>
        </p:nvSpPr>
        <p:spPr>
          <a:xfrm>
            <a:off x="522890" y="4925550"/>
            <a:ext cx="2412000" cy="268404"/>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59" name="Rectangle: Rounded Corners 85">
            <a:extLst>
              <a:ext uri="{FF2B5EF4-FFF2-40B4-BE49-F238E27FC236}">
                <a16:creationId xmlns:a16="http://schemas.microsoft.com/office/drawing/2014/main" id="{2C450A78-4C75-A3F5-F015-F7969915A80C}"/>
              </a:ext>
            </a:extLst>
          </p:cNvPr>
          <p:cNvSpPr/>
          <p:nvPr/>
        </p:nvSpPr>
        <p:spPr>
          <a:xfrm>
            <a:off x="3889524" y="2959551"/>
            <a:ext cx="629499" cy="2262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defTabSz="960120" rtl="0" eaLnBrk="1" fontAlgn="auto" latinLnBrk="0" hangingPunct="1">
              <a:lnSpc>
                <a:spcPct val="100000"/>
              </a:lnSpc>
              <a:spcBef>
                <a:spcPts val="0"/>
              </a:spcBef>
              <a:spcAft>
                <a:spcPts val="0"/>
              </a:spcAft>
              <a:buClrTx/>
              <a:buSzTx/>
              <a:buFontTx/>
              <a:buNone/>
              <a:tabLst/>
              <a:defRPr/>
            </a:pPr>
            <a:r>
              <a:rPr kumimoji="0" lang="da-DK" sz="1470" b="1" i="0" u="none" strike="noStrike" kern="1200" cap="none" spc="0" normalizeH="0" baseline="0" noProof="0">
                <a:ln>
                  <a:noFill/>
                </a:ln>
                <a:solidFill>
                  <a:srgbClr val="EF3F50"/>
                </a:solidFill>
                <a:effectLst/>
                <a:uLnTx/>
                <a:uFillTx/>
                <a:latin typeface="Verdana" panose="020B0604030504040204" pitchFamily="34" charset="0"/>
                <a:ea typeface="Verdana" panose="020B0604030504040204" pitchFamily="34" charset="0"/>
              </a:rPr>
              <a:t>Social</a:t>
            </a:r>
          </a:p>
        </p:txBody>
      </p:sp>
      <p:grpSp>
        <p:nvGrpSpPr>
          <p:cNvPr id="88" name="Group 87">
            <a:extLst>
              <a:ext uri="{FF2B5EF4-FFF2-40B4-BE49-F238E27FC236}">
                <a16:creationId xmlns:a16="http://schemas.microsoft.com/office/drawing/2014/main" id="{671D7DDB-CE06-0B47-1872-8B404FE417DB}"/>
              </a:ext>
            </a:extLst>
          </p:cNvPr>
          <p:cNvGrpSpPr/>
          <p:nvPr/>
        </p:nvGrpSpPr>
        <p:grpSpPr>
          <a:xfrm>
            <a:off x="3043243" y="2697936"/>
            <a:ext cx="720000" cy="720000"/>
            <a:chOff x="6782390" y="-328146"/>
            <a:chExt cx="1011125" cy="1011570"/>
          </a:xfrm>
        </p:grpSpPr>
        <p:sp>
          <p:nvSpPr>
            <p:cNvPr id="64" name="Freeform: Shape 326">
              <a:extLst>
                <a:ext uri="{FF2B5EF4-FFF2-40B4-BE49-F238E27FC236}">
                  <a16:creationId xmlns:a16="http://schemas.microsoft.com/office/drawing/2014/main" id="{F72F9D63-7F08-901D-F2C1-1B14677E83C7}"/>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EF3F5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Verdana" panose="020B0604030504040204" pitchFamily="34" charset="0"/>
                <a:ea typeface="Verdana" panose="020B0604030504040204" pitchFamily="34" charset="0"/>
              </a:endParaRPr>
            </a:p>
          </p:txBody>
        </p:sp>
        <p:sp>
          <p:nvSpPr>
            <p:cNvPr id="65" name="Freeform: Shape 327">
              <a:extLst>
                <a:ext uri="{FF2B5EF4-FFF2-40B4-BE49-F238E27FC236}">
                  <a16:creationId xmlns:a16="http://schemas.microsoft.com/office/drawing/2014/main" id="{A8C3F7FD-791C-53E6-3657-95D65CF99E70}"/>
                </a:ext>
              </a:extLst>
            </p:cNvPr>
            <p:cNvSpPr/>
            <p:nvPr/>
          </p:nvSpPr>
          <p:spPr>
            <a:xfrm>
              <a:off x="6800768" y="-328146"/>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F79FA7"/>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360" b="1">
                  <a:solidFill>
                    <a:schemeClr val="bg1"/>
                  </a:solidFill>
                  <a:latin typeface="Verdana" panose="020B0604030504040204" pitchFamily="34" charset="0"/>
                  <a:ea typeface="Verdana" panose="020B0604030504040204" pitchFamily="34" charset="0"/>
                </a:rPr>
                <a:t>S</a:t>
              </a:r>
            </a:p>
          </p:txBody>
        </p:sp>
      </p:grpSp>
      <p:sp>
        <p:nvSpPr>
          <p:cNvPr id="77" name="Rectangle: Rounded Corners 76">
            <a:extLst>
              <a:ext uri="{FF2B5EF4-FFF2-40B4-BE49-F238E27FC236}">
                <a16:creationId xmlns:a16="http://schemas.microsoft.com/office/drawing/2014/main" id="{1B9DDA91-60F8-F0ED-DFA7-94A82C33DF72}"/>
              </a:ext>
            </a:extLst>
          </p:cNvPr>
          <p:cNvSpPr/>
          <p:nvPr/>
        </p:nvSpPr>
        <p:spPr>
          <a:xfrm>
            <a:off x="3054184" y="4925550"/>
            <a:ext cx="2412000" cy="268404"/>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grpSp>
        <p:nvGrpSpPr>
          <p:cNvPr id="89" name="Group 88">
            <a:extLst>
              <a:ext uri="{FF2B5EF4-FFF2-40B4-BE49-F238E27FC236}">
                <a16:creationId xmlns:a16="http://schemas.microsoft.com/office/drawing/2014/main" id="{2E006CDD-FE87-244D-688D-8A14C8C46866}"/>
              </a:ext>
            </a:extLst>
          </p:cNvPr>
          <p:cNvGrpSpPr/>
          <p:nvPr/>
        </p:nvGrpSpPr>
        <p:grpSpPr>
          <a:xfrm>
            <a:off x="5574537" y="2697936"/>
            <a:ext cx="720000" cy="720000"/>
            <a:chOff x="8635379" y="-423505"/>
            <a:chExt cx="951648" cy="943398"/>
          </a:xfrm>
        </p:grpSpPr>
        <p:sp>
          <p:nvSpPr>
            <p:cNvPr id="67" name="Freeform: Shape 333">
              <a:extLst>
                <a:ext uri="{FF2B5EF4-FFF2-40B4-BE49-F238E27FC236}">
                  <a16:creationId xmlns:a16="http://schemas.microsoft.com/office/drawing/2014/main" id="{1614B6FA-B863-67CC-B695-AD516420ACFD}"/>
                </a:ext>
              </a:extLst>
            </p:cNvPr>
            <p:cNvSpPr/>
            <p:nvPr/>
          </p:nvSpPr>
          <p:spPr>
            <a:xfrm rot="21410080">
              <a:off x="8635379" y="-423505"/>
              <a:ext cx="941281"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solidFill>
              <a:srgbClr val="51597F"/>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360" b="1">
                  <a:solidFill>
                    <a:schemeClr val="bg1"/>
                  </a:solidFill>
                  <a:latin typeface="Verdana" panose="020B0604030504040204" pitchFamily="34" charset="0"/>
                  <a:ea typeface="Verdana" panose="020B0604030504040204" pitchFamily="34" charset="0"/>
                </a:rPr>
                <a:t>G</a:t>
              </a:r>
            </a:p>
          </p:txBody>
        </p:sp>
        <p:sp>
          <p:nvSpPr>
            <p:cNvPr id="68" name="Freeform: Shape 334">
              <a:extLst>
                <a:ext uri="{FF2B5EF4-FFF2-40B4-BE49-F238E27FC236}">
                  <a16:creationId xmlns:a16="http://schemas.microsoft.com/office/drawing/2014/main" id="{932FA426-AF4A-E0A9-A3C3-7FC9AB9BC55A}"/>
                </a:ext>
              </a:extLst>
            </p:cNvPr>
            <p:cNvSpPr/>
            <p:nvPr/>
          </p:nvSpPr>
          <p:spPr>
            <a:xfrm rot="21410080">
              <a:off x="8645746" y="-403614"/>
              <a:ext cx="941281"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noFill/>
            <a:ln w="5213" cap="flat">
              <a:solidFill>
                <a:srgbClr val="242E5E"/>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3360" b="1">
                <a:solidFill>
                  <a:schemeClr val="bg1"/>
                </a:solidFill>
                <a:latin typeface="Verdana" panose="020B0604030504040204" pitchFamily="34" charset="0"/>
                <a:ea typeface="Verdana" panose="020B0604030504040204" pitchFamily="34" charset="0"/>
              </a:endParaRPr>
            </a:p>
          </p:txBody>
        </p:sp>
      </p:grpSp>
      <p:sp>
        <p:nvSpPr>
          <p:cNvPr id="79" name="Rectangle: Rounded Corners 62">
            <a:extLst>
              <a:ext uri="{FF2B5EF4-FFF2-40B4-BE49-F238E27FC236}">
                <a16:creationId xmlns:a16="http://schemas.microsoft.com/office/drawing/2014/main" id="{B50FBEF2-5F9A-ADB4-6926-5A9294C56A51}"/>
              </a:ext>
            </a:extLst>
          </p:cNvPr>
          <p:cNvSpPr/>
          <p:nvPr/>
        </p:nvSpPr>
        <p:spPr>
          <a:xfrm>
            <a:off x="6424081" y="2959551"/>
            <a:ext cx="1337128" cy="2262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defTabSz="960120" rtl="0" eaLnBrk="1" fontAlgn="auto" latinLnBrk="0" hangingPunct="1">
              <a:lnSpc>
                <a:spcPct val="100000"/>
              </a:lnSpc>
              <a:spcBef>
                <a:spcPts val="0"/>
              </a:spcBef>
              <a:spcAft>
                <a:spcPts val="0"/>
              </a:spcAft>
              <a:buClrTx/>
              <a:buSzTx/>
              <a:buFontTx/>
              <a:buNone/>
              <a:tabLst/>
              <a:defRPr/>
            </a:pPr>
            <a:r>
              <a:rPr kumimoji="0" lang="da-DK" sz="1470" b="1" i="0" u="none" strike="noStrike" kern="1200" cap="none" spc="0" normalizeH="0" baseline="0" noProof="0" dirty="0">
                <a:ln>
                  <a:noFill/>
                </a:ln>
                <a:solidFill>
                  <a:srgbClr val="242E5E"/>
                </a:solidFill>
                <a:effectLst/>
                <a:uLnTx/>
                <a:uFillTx/>
                <a:latin typeface="Verdana" panose="020B0604030504040204" pitchFamily="34" charset="0"/>
                <a:ea typeface="Verdana" panose="020B0604030504040204" pitchFamily="34" charset="0"/>
              </a:rPr>
              <a:t>Governance</a:t>
            </a:r>
          </a:p>
        </p:txBody>
      </p:sp>
      <p:sp>
        <p:nvSpPr>
          <p:cNvPr id="85" name="Rectangle: Rounded Corners 84">
            <a:extLst>
              <a:ext uri="{FF2B5EF4-FFF2-40B4-BE49-F238E27FC236}">
                <a16:creationId xmlns:a16="http://schemas.microsoft.com/office/drawing/2014/main" id="{8766BD76-4A28-EB3B-EF36-5A4E6ACB4DA2}"/>
              </a:ext>
            </a:extLst>
          </p:cNvPr>
          <p:cNvSpPr/>
          <p:nvPr/>
        </p:nvSpPr>
        <p:spPr>
          <a:xfrm>
            <a:off x="5638720" y="4941151"/>
            <a:ext cx="2412000" cy="268404"/>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7" name="Rectangle: Rounded Corners 6">
            <a:extLst>
              <a:ext uri="{FF2B5EF4-FFF2-40B4-BE49-F238E27FC236}">
                <a16:creationId xmlns:a16="http://schemas.microsoft.com/office/drawing/2014/main" id="{50E45D72-A06C-0680-7514-B1D6AFF9F112}"/>
              </a:ext>
            </a:extLst>
          </p:cNvPr>
          <p:cNvSpPr/>
          <p:nvPr/>
        </p:nvSpPr>
        <p:spPr>
          <a:xfrm>
            <a:off x="522890" y="3667442"/>
            <a:ext cx="2412000" cy="1097628"/>
          </a:xfrm>
          <a:custGeom>
            <a:avLst/>
            <a:gdLst>
              <a:gd name="connsiteX0" fmla="*/ 0 w 2412000"/>
              <a:gd name="connsiteY0" fmla="*/ 0 h 1097628"/>
              <a:gd name="connsiteX1" fmla="*/ 0 w 2412000"/>
              <a:gd name="connsiteY1" fmla="*/ 0 h 1097628"/>
              <a:gd name="connsiteX2" fmla="*/ 627120 w 2412000"/>
              <a:gd name="connsiteY2" fmla="*/ 0 h 1097628"/>
              <a:gd name="connsiteX3" fmla="*/ 1181880 w 2412000"/>
              <a:gd name="connsiteY3" fmla="*/ 0 h 1097628"/>
              <a:gd name="connsiteX4" fmla="*/ 1833120 w 2412000"/>
              <a:gd name="connsiteY4" fmla="*/ 0 h 1097628"/>
              <a:gd name="connsiteX5" fmla="*/ 2412000 w 2412000"/>
              <a:gd name="connsiteY5" fmla="*/ 0 h 1097628"/>
              <a:gd name="connsiteX6" fmla="*/ 2412000 w 2412000"/>
              <a:gd name="connsiteY6" fmla="*/ 0 h 1097628"/>
              <a:gd name="connsiteX7" fmla="*/ 2412000 w 2412000"/>
              <a:gd name="connsiteY7" fmla="*/ 548814 h 1097628"/>
              <a:gd name="connsiteX8" fmla="*/ 2412000 w 2412000"/>
              <a:gd name="connsiteY8" fmla="*/ 1097628 h 1097628"/>
              <a:gd name="connsiteX9" fmla="*/ 2412000 w 2412000"/>
              <a:gd name="connsiteY9" fmla="*/ 1097628 h 1097628"/>
              <a:gd name="connsiteX10" fmla="*/ 1809000 w 2412000"/>
              <a:gd name="connsiteY10" fmla="*/ 1097628 h 1097628"/>
              <a:gd name="connsiteX11" fmla="*/ 1230120 w 2412000"/>
              <a:gd name="connsiteY11" fmla="*/ 1097628 h 1097628"/>
              <a:gd name="connsiteX12" fmla="*/ 699480 w 2412000"/>
              <a:gd name="connsiteY12" fmla="*/ 1097628 h 1097628"/>
              <a:gd name="connsiteX13" fmla="*/ 0 w 2412000"/>
              <a:gd name="connsiteY13" fmla="*/ 1097628 h 1097628"/>
              <a:gd name="connsiteX14" fmla="*/ 0 w 2412000"/>
              <a:gd name="connsiteY14" fmla="*/ 1097628 h 1097628"/>
              <a:gd name="connsiteX15" fmla="*/ 0 w 2412000"/>
              <a:gd name="connsiteY15" fmla="*/ 559790 h 1097628"/>
              <a:gd name="connsiteX16" fmla="*/ 0 w 2412000"/>
              <a:gd name="connsiteY16" fmla="*/ 0 h 1097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643436C7-A440-9007-D496-FD95B1804715}"/>
              </a:ext>
            </a:extLst>
          </p:cNvPr>
          <p:cNvSpPr/>
          <p:nvPr/>
        </p:nvSpPr>
        <p:spPr>
          <a:xfrm>
            <a:off x="522889" y="5251102"/>
            <a:ext cx="2412000" cy="1097628"/>
          </a:xfrm>
          <a:custGeom>
            <a:avLst/>
            <a:gdLst>
              <a:gd name="connsiteX0" fmla="*/ 0 w 2412000"/>
              <a:gd name="connsiteY0" fmla="*/ 0 h 1097628"/>
              <a:gd name="connsiteX1" fmla="*/ 0 w 2412000"/>
              <a:gd name="connsiteY1" fmla="*/ 0 h 1097628"/>
              <a:gd name="connsiteX2" fmla="*/ 627120 w 2412000"/>
              <a:gd name="connsiteY2" fmla="*/ 0 h 1097628"/>
              <a:gd name="connsiteX3" fmla="*/ 1181880 w 2412000"/>
              <a:gd name="connsiteY3" fmla="*/ 0 h 1097628"/>
              <a:gd name="connsiteX4" fmla="*/ 1833120 w 2412000"/>
              <a:gd name="connsiteY4" fmla="*/ 0 h 1097628"/>
              <a:gd name="connsiteX5" fmla="*/ 2412000 w 2412000"/>
              <a:gd name="connsiteY5" fmla="*/ 0 h 1097628"/>
              <a:gd name="connsiteX6" fmla="*/ 2412000 w 2412000"/>
              <a:gd name="connsiteY6" fmla="*/ 0 h 1097628"/>
              <a:gd name="connsiteX7" fmla="*/ 2412000 w 2412000"/>
              <a:gd name="connsiteY7" fmla="*/ 548814 h 1097628"/>
              <a:gd name="connsiteX8" fmla="*/ 2412000 w 2412000"/>
              <a:gd name="connsiteY8" fmla="*/ 1097628 h 1097628"/>
              <a:gd name="connsiteX9" fmla="*/ 2412000 w 2412000"/>
              <a:gd name="connsiteY9" fmla="*/ 1097628 h 1097628"/>
              <a:gd name="connsiteX10" fmla="*/ 1809000 w 2412000"/>
              <a:gd name="connsiteY10" fmla="*/ 1097628 h 1097628"/>
              <a:gd name="connsiteX11" fmla="*/ 1230120 w 2412000"/>
              <a:gd name="connsiteY11" fmla="*/ 1097628 h 1097628"/>
              <a:gd name="connsiteX12" fmla="*/ 699480 w 2412000"/>
              <a:gd name="connsiteY12" fmla="*/ 1097628 h 1097628"/>
              <a:gd name="connsiteX13" fmla="*/ 0 w 2412000"/>
              <a:gd name="connsiteY13" fmla="*/ 1097628 h 1097628"/>
              <a:gd name="connsiteX14" fmla="*/ 0 w 2412000"/>
              <a:gd name="connsiteY14" fmla="*/ 1097628 h 1097628"/>
              <a:gd name="connsiteX15" fmla="*/ 0 w 2412000"/>
              <a:gd name="connsiteY15" fmla="*/ 559790 h 1097628"/>
              <a:gd name="connsiteX16" fmla="*/ 0 w 2412000"/>
              <a:gd name="connsiteY16" fmla="*/ 0 h 1097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1" name="Rectangle: Rounded Corners 10">
            <a:extLst>
              <a:ext uri="{FF2B5EF4-FFF2-40B4-BE49-F238E27FC236}">
                <a16:creationId xmlns:a16="http://schemas.microsoft.com/office/drawing/2014/main" id="{AC8B38C0-7034-59E1-AC4D-9EFC868D4622}"/>
              </a:ext>
            </a:extLst>
          </p:cNvPr>
          <p:cNvSpPr/>
          <p:nvPr/>
        </p:nvSpPr>
        <p:spPr>
          <a:xfrm>
            <a:off x="3043244" y="3667442"/>
            <a:ext cx="2412000" cy="1097628"/>
          </a:xfrm>
          <a:custGeom>
            <a:avLst/>
            <a:gdLst>
              <a:gd name="connsiteX0" fmla="*/ 0 w 2412000"/>
              <a:gd name="connsiteY0" fmla="*/ 0 h 1097628"/>
              <a:gd name="connsiteX1" fmla="*/ 0 w 2412000"/>
              <a:gd name="connsiteY1" fmla="*/ 0 h 1097628"/>
              <a:gd name="connsiteX2" fmla="*/ 627120 w 2412000"/>
              <a:gd name="connsiteY2" fmla="*/ 0 h 1097628"/>
              <a:gd name="connsiteX3" fmla="*/ 1181880 w 2412000"/>
              <a:gd name="connsiteY3" fmla="*/ 0 h 1097628"/>
              <a:gd name="connsiteX4" fmla="*/ 1833120 w 2412000"/>
              <a:gd name="connsiteY4" fmla="*/ 0 h 1097628"/>
              <a:gd name="connsiteX5" fmla="*/ 2412000 w 2412000"/>
              <a:gd name="connsiteY5" fmla="*/ 0 h 1097628"/>
              <a:gd name="connsiteX6" fmla="*/ 2412000 w 2412000"/>
              <a:gd name="connsiteY6" fmla="*/ 0 h 1097628"/>
              <a:gd name="connsiteX7" fmla="*/ 2412000 w 2412000"/>
              <a:gd name="connsiteY7" fmla="*/ 548814 h 1097628"/>
              <a:gd name="connsiteX8" fmla="*/ 2412000 w 2412000"/>
              <a:gd name="connsiteY8" fmla="*/ 1097628 h 1097628"/>
              <a:gd name="connsiteX9" fmla="*/ 2412000 w 2412000"/>
              <a:gd name="connsiteY9" fmla="*/ 1097628 h 1097628"/>
              <a:gd name="connsiteX10" fmla="*/ 1809000 w 2412000"/>
              <a:gd name="connsiteY10" fmla="*/ 1097628 h 1097628"/>
              <a:gd name="connsiteX11" fmla="*/ 1230120 w 2412000"/>
              <a:gd name="connsiteY11" fmla="*/ 1097628 h 1097628"/>
              <a:gd name="connsiteX12" fmla="*/ 699480 w 2412000"/>
              <a:gd name="connsiteY12" fmla="*/ 1097628 h 1097628"/>
              <a:gd name="connsiteX13" fmla="*/ 0 w 2412000"/>
              <a:gd name="connsiteY13" fmla="*/ 1097628 h 1097628"/>
              <a:gd name="connsiteX14" fmla="*/ 0 w 2412000"/>
              <a:gd name="connsiteY14" fmla="*/ 1097628 h 1097628"/>
              <a:gd name="connsiteX15" fmla="*/ 0 w 2412000"/>
              <a:gd name="connsiteY15" fmla="*/ 559790 h 1097628"/>
              <a:gd name="connsiteX16" fmla="*/ 0 w 2412000"/>
              <a:gd name="connsiteY16" fmla="*/ 0 h 1097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FDDADC">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2" name="Rectangle: Rounded Corners 11">
            <a:extLst>
              <a:ext uri="{FF2B5EF4-FFF2-40B4-BE49-F238E27FC236}">
                <a16:creationId xmlns:a16="http://schemas.microsoft.com/office/drawing/2014/main" id="{D567155A-ABAB-262F-EFAA-6D9AAFC2F777}"/>
              </a:ext>
            </a:extLst>
          </p:cNvPr>
          <p:cNvSpPr/>
          <p:nvPr/>
        </p:nvSpPr>
        <p:spPr>
          <a:xfrm>
            <a:off x="3043243" y="5251102"/>
            <a:ext cx="2412000" cy="1097628"/>
          </a:xfrm>
          <a:custGeom>
            <a:avLst/>
            <a:gdLst>
              <a:gd name="connsiteX0" fmla="*/ 0 w 2412000"/>
              <a:gd name="connsiteY0" fmla="*/ 0 h 1097628"/>
              <a:gd name="connsiteX1" fmla="*/ 0 w 2412000"/>
              <a:gd name="connsiteY1" fmla="*/ 0 h 1097628"/>
              <a:gd name="connsiteX2" fmla="*/ 627120 w 2412000"/>
              <a:gd name="connsiteY2" fmla="*/ 0 h 1097628"/>
              <a:gd name="connsiteX3" fmla="*/ 1181880 w 2412000"/>
              <a:gd name="connsiteY3" fmla="*/ 0 h 1097628"/>
              <a:gd name="connsiteX4" fmla="*/ 1833120 w 2412000"/>
              <a:gd name="connsiteY4" fmla="*/ 0 h 1097628"/>
              <a:gd name="connsiteX5" fmla="*/ 2412000 w 2412000"/>
              <a:gd name="connsiteY5" fmla="*/ 0 h 1097628"/>
              <a:gd name="connsiteX6" fmla="*/ 2412000 w 2412000"/>
              <a:gd name="connsiteY6" fmla="*/ 0 h 1097628"/>
              <a:gd name="connsiteX7" fmla="*/ 2412000 w 2412000"/>
              <a:gd name="connsiteY7" fmla="*/ 548814 h 1097628"/>
              <a:gd name="connsiteX8" fmla="*/ 2412000 w 2412000"/>
              <a:gd name="connsiteY8" fmla="*/ 1097628 h 1097628"/>
              <a:gd name="connsiteX9" fmla="*/ 2412000 w 2412000"/>
              <a:gd name="connsiteY9" fmla="*/ 1097628 h 1097628"/>
              <a:gd name="connsiteX10" fmla="*/ 1809000 w 2412000"/>
              <a:gd name="connsiteY10" fmla="*/ 1097628 h 1097628"/>
              <a:gd name="connsiteX11" fmla="*/ 1230120 w 2412000"/>
              <a:gd name="connsiteY11" fmla="*/ 1097628 h 1097628"/>
              <a:gd name="connsiteX12" fmla="*/ 699480 w 2412000"/>
              <a:gd name="connsiteY12" fmla="*/ 1097628 h 1097628"/>
              <a:gd name="connsiteX13" fmla="*/ 0 w 2412000"/>
              <a:gd name="connsiteY13" fmla="*/ 1097628 h 1097628"/>
              <a:gd name="connsiteX14" fmla="*/ 0 w 2412000"/>
              <a:gd name="connsiteY14" fmla="*/ 1097628 h 1097628"/>
              <a:gd name="connsiteX15" fmla="*/ 0 w 2412000"/>
              <a:gd name="connsiteY15" fmla="*/ 559790 h 1097628"/>
              <a:gd name="connsiteX16" fmla="*/ 0 w 2412000"/>
              <a:gd name="connsiteY16" fmla="*/ 0 h 1097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FDDADC">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3" name="Rectangle: Rounded Corners 12">
            <a:extLst>
              <a:ext uri="{FF2B5EF4-FFF2-40B4-BE49-F238E27FC236}">
                <a16:creationId xmlns:a16="http://schemas.microsoft.com/office/drawing/2014/main" id="{768E9CC9-0C55-BA18-FA62-F3DC7A1C5F56}"/>
              </a:ext>
            </a:extLst>
          </p:cNvPr>
          <p:cNvSpPr/>
          <p:nvPr/>
        </p:nvSpPr>
        <p:spPr>
          <a:xfrm>
            <a:off x="5638720" y="3667442"/>
            <a:ext cx="2412000" cy="1097628"/>
          </a:xfrm>
          <a:custGeom>
            <a:avLst/>
            <a:gdLst>
              <a:gd name="connsiteX0" fmla="*/ 0 w 2412000"/>
              <a:gd name="connsiteY0" fmla="*/ 0 h 1097628"/>
              <a:gd name="connsiteX1" fmla="*/ 0 w 2412000"/>
              <a:gd name="connsiteY1" fmla="*/ 0 h 1097628"/>
              <a:gd name="connsiteX2" fmla="*/ 627120 w 2412000"/>
              <a:gd name="connsiteY2" fmla="*/ 0 h 1097628"/>
              <a:gd name="connsiteX3" fmla="*/ 1181880 w 2412000"/>
              <a:gd name="connsiteY3" fmla="*/ 0 h 1097628"/>
              <a:gd name="connsiteX4" fmla="*/ 1833120 w 2412000"/>
              <a:gd name="connsiteY4" fmla="*/ 0 h 1097628"/>
              <a:gd name="connsiteX5" fmla="*/ 2412000 w 2412000"/>
              <a:gd name="connsiteY5" fmla="*/ 0 h 1097628"/>
              <a:gd name="connsiteX6" fmla="*/ 2412000 w 2412000"/>
              <a:gd name="connsiteY6" fmla="*/ 0 h 1097628"/>
              <a:gd name="connsiteX7" fmla="*/ 2412000 w 2412000"/>
              <a:gd name="connsiteY7" fmla="*/ 548814 h 1097628"/>
              <a:gd name="connsiteX8" fmla="*/ 2412000 w 2412000"/>
              <a:gd name="connsiteY8" fmla="*/ 1097628 h 1097628"/>
              <a:gd name="connsiteX9" fmla="*/ 2412000 w 2412000"/>
              <a:gd name="connsiteY9" fmla="*/ 1097628 h 1097628"/>
              <a:gd name="connsiteX10" fmla="*/ 1809000 w 2412000"/>
              <a:gd name="connsiteY10" fmla="*/ 1097628 h 1097628"/>
              <a:gd name="connsiteX11" fmla="*/ 1230120 w 2412000"/>
              <a:gd name="connsiteY11" fmla="*/ 1097628 h 1097628"/>
              <a:gd name="connsiteX12" fmla="*/ 699480 w 2412000"/>
              <a:gd name="connsiteY12" fmla="*/ 1097628 h 1097628"/>
              <a:gd name="connsiteX13" fmla="*/ 0 w 2412000"/>
              <a:gd name="connsiteY13" fmla="*/ 1097628 h 1097628"/>
              <a:gd name="connsiteX14" fmla="*/ 0 w 2412000"/>
              <a:gd name="connsiteY14" fmla="*/ 1097628 h 1097628"/>
              <a:gd name="connsiteX15" fmla="*/ 0 w 2412000"/>
              <a:gd name="connsiteY15" fmla="*/ 559790 h 1097628"/>
              <a:gd name="connsiteX16" fmla="*/ 0 w 2412000"/>
              <a:gd name="connsiteY16" fmla="*/ 0 h 1097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E0E3EB">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78E279AD-CF44-42CB-2FC8-A94E53308BA1}"/>
              </a:ext>
            </a:extLst>
          </p:cNvPr>
          <p:cNvSpPr/>
          <p:nvPr/>
        </p:nvSpPr>
        <p:spPr>
          <a:xfrm>
            <a:off x="5638719" y="5251102"/>
            <a:ext cx="2412000" cy="1097628"/>
          </a:xfrm>
          <a:custGeom>
            <a:avLst/>
            <a:gdLst>
              <a:gd name="connsiteX0" fmla="*/ 0 w 2412000"/>
              <a:gd name="connsiteY0" fmla="*/ 0 h 1097628"/>
              <a:gd name="connsiteX1" fmla="*/ 0 w 2412000"/>
              <a:gd name="connsiteY1" fmla="*/ 0 h 1097628"/>
              <a:gd name="connsiteX2" fmla="*/ 627120 w 2412000"/>
              <a:gd name="connsiteY2" fmla="*/ 0 h 1097628"/>
              <a:gd name="connsiteX3" fmla="*/ 1181880 w 2412000"/>
              <a:gd name="connsiteY3" fmla="*/ 0 h 1097628"/>
              <a:gd name="connsiteX4" fmla="*/ 1833120 w 2412000"/>
              <a:gd name="connsiteY4" fmla="*/ 0 h 1097628"/>
              <a:gd name="connsiteX5" fmla="*/ 2412000 w 2412000"/>
              <a:gd name="connsiteY5" fmla="*/ 0 h 1097628"/>
              <a:gd name="connsiteX6" fmla="*/ 2412000 w 2412000"/>
              <a:gd name="connsiteY6" fmla="*/ 0 h 1097628"/>
              <a:gd name="connsiteX7" fmla="*/ 2412000 w 2412000"/>
              <a:gd name="connsiteY7" fmla="*/ 548814 h 1097628"/>
              <a:gd name="connsiteX8" fmla="*/ 2412000 w 2412000"/>
              <a:gd name="connsiteY8" fmla="*/ 1097628 h 1097628"/>
              <a:gd name="connsiteX9" fmla="*/ 2412000 w 2412000"/>
              <a:gd name="connsiteY9" fmla="*/ 1097628 h 1097628"/>
              <a:gd name="connsiteX10" fmla="*/ 1809000 w 2412000"/>
              <a:gd name="connsiteY10" fmla="*/ 1097628 h 1097628"/>
              <a:gd name="connsiteX11" fmla="*/ 1230120 w 2412000"/>
              <a:gd name="connsiteY11" fmla="*/ 1097628 h 1097628"/>
              <a:gd name="connsiteX12" fmla="*/ 699480 w 2412000"/>
              <a:gd name="connsiteY12" fmla="*/ 1097628 h 1097628"/>
              <a:gd name="connsiteX13" fmla="*/ 0 w 2412000"/>
              <a:gd name="connsiteY13" fmla="*/ 1097628 h 1097628"/>
              <a:gd name="connsiteX14" fmla="*/ 0 w 2412000"/>
              <a:gd name="connsiteY14" fmla="*/ 1097628 h 1097628"/>
              <a:gd name="connsiteX15" fmla="*/ 0 w 2412000"/>
              <a:gd name="connsiteY15" fmla="*/ 559790 h 1097628"/>
              <a:gd name="connsiteX16" fmla="*/ 0 w 2412000"/>
              <a:gd name="connsiteY16" fmla="*/ 0 h 1097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E0E3EB">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pic>
        <p:nvPicPr>
          <p:cNvPr id="16" name="Billede 2">
            <a:extLst>
              <a:ext uri="{FF2B5EF4-FFF2-40B4-BE49-F238E27FC236}">
                <a16:creationId xmlns:a16="http://schemas.microsoft.com/office/drawing/2014/main" id="{5581E671-1EF5-0B34-370C-08B5827F4A91}"/>
              </a:ext>
            </a:extLst>
          </p:cNvPr>
          <p:cNvPicPr>
            <a:picLocks noChangeAspect="1"/>
          </p:cNvPicPr>
          <p:nvPr/>
        </p:nvPicPr>
        <p:blipFill>
          <a:blip r:embed="rId6"/>
          <a:stretch>
            <a:fillRect/>
          </a:stretch>
        </p:blipFill>
        <p:spPr>
          <a:xfrm>
            <a:off x="8539545" y="1578478"/>
            <a:ext cx="3308578" cy="2268239"/>
          </a:xfrm>
          <a:prstGeom prst="rect">
            <a:avLst/>
          </a:prstGeom>
          <a:ln>
            <a:solidFill>
              <a:schemeClr val="accent1"/>
            </a:solidFill>
          </a:ln>
          <a:effectLst>
            <a:outerShdw blurRad="50800" dist="38100" dir="5400000" algn="t" rotWithShape="0">
              <a:prstClr val="black">
                <a:alpha val="40000"/>
              </a:prstClr>
            </a:outerShdw>
          </a:effectLst>
        </p:spPr>
      </p:pic>
      <p:pic>
        <p:nvPicPr>
          <p:cNvPr id="17" name="Billede 21">
            <a:extLst>
              <a:ext uri="{FF2B5EF4-FFF2-40B4-BE49-F238E27FC236}">
                <a16:creationId xmlns:a16="http://schemas.microsoft.com/office/drawing/2014/main" id="{D9393F31-3896-476E-C500-F6104F71F0E5}"/>
              </a:ext>
            </a:extLst>
          </p:cNvPr>
          <p:cNvPicPr>
            <a:picLocks noChangeAspect="1"/>
          </p:cNvPicPr>
          <p:nvPr/>
        </p:nvPicPr>
        <p:blipFill>
          <a:blip r:embed="rId7"/>
          <a:stretch>
            <a:fillRect/>
          </a:stretch>
        </p:blipFill>
        <p:spPr>
          <a:xfrm rot="652110">
            <a:off x="10560176" y="2284427"/>
            <a:ext cx="254528" cy="360000"/>
          </a:xfrm>
          <a:prstGeom prst="rect">
            <a:avLst/>
          </a:prstGeom>
        </p:spPr>
      </p:pic>
      <p:pic>
        <p:nvPicPr>
          <p:cNvPr id="18" name="Billede 24">
            <a:extLst>
              <a:ext uri="{FF2B5EF4-FFF2-40B4-BE49-F238E27FC236}">
                <a16:creationId xmlns:a16="http://schemas.microsoft.com/office/drawing/2014/main" id="{07E50954-A492-4958-6559-4296A00EF64E}"/>
              </a:ext>
            </a:extLst>
          </p:cNvPr>
          <p:cNvPicPr>
            <a:picLocks noChangeAspect="1"/>
          </p:cNvPicPr>
          <p:nvPr/>
        </p:nvPicPr>
        <p:blipFill>
          <a:blip r:embed="rId8"/>
          <a:stretch>
            <a:fillRect/>
          </a:stretch>
        </p:blipFill>
        <p:spPr>
          <a:xfrm rot="10550589">
            <a:off x="9430176" y="1993225"/>
            <a:ext cx="254528" cy="360000"/>
          </a:xfrm>
          <a:prstGeom prst="rect">
            <a:avLst/>
          </a:prstGeom>
        </p:spPr>
      </p:pic>
      <p:pic>
        <p:nvPicPr>
          <p:cNvPr id="19" name="Billede 26">
            <a:extLst>
              <a:ext uri="{FF2B5EF4-FFF2-40B4-BE49-F238E27FC236}">
                <a16:creationId xmlns:a16="http://schemas.microsoft.com/office/drawing/2014/main" id="{9084E8B4-7CB6-A9BA-C232-B721E0C62132}"/>
              </a:ext>
            </a:extLst>
          </p:cNvPr>
          <p:cNvPicPr>
            <a:picLocks noChangeAspect="1"/>
          </p:cNvPicPr>
          <p:nvPr/>
        </p:nvPicPr>
        <p:blipFill>
          <a:blip r:embed="rId9"/>
          <a:stretch>
            <a:fillRect/>
          </a:stretch>
        </p:blipFill>
        <p:spPr>
          <a:xfrm rot="11338428">
            <a:off x="10272841" y="3228349"/>
            <a:ext cx="263535" cy="360000"/>
          </a:xfrm>
          <a:prstGeom prst="rect">
            <a:avLst/>
          </a:prstGeom>
        </p:spPr>
      </p:pic>
      <p:pic>
        <p:nvPicPr>
          <p:cNvPr id="20" name="Billede 27">
            <a:extLst>
              <a:ext uri="{FF2B5EF4-FFF2-40B4-BE49-F238E27FC236}">
                <a16:creationId xmlns:a16="http://schemas.microsoft.com/office/drawing/2014/main" id="{3B8D3934-6F07-F868-7E81-F2B64B6AD9FD}"/>
              </a:ext>
            </a:extLst>
          </p:cNvPr>
          <p:cNvPicPr>
            <a:picLocks noChangeAspect="1"/>
          </p:cNvPicPr>
          <p:nvPr/>
        </p:nvPicPr>
        <p:blipFill>
          <a:blip r:embed="rId10"/>
          <a:stretch>
            <a:fillRect/>
          </a:stretch>
        </p:blipFill>
        <p:spPr>
          <a:xfrm rot="10800000">
            <a:off x="9290201" y="2369908"/>
            <a:ext cx="254528" cy="360000"/>
          </a:xfrm>
          <a:prstGeom prst="rect">
            <a:avLst/>
          </a:prstGeom>
        </p:spPr>
      </p:pic>
      <p:pic>
        <p:nvPicPr>
          <p:cNvPr id="24" name="Billede 28">
            <a:extLst>
              <a:ext uri="{FF2B5EF4-FFF2-40B4-BE49-F238E27FC236}">
                <a16:creationId xmlns:a16="http://schemas.microsoft.com/office/drawing/2014/main" id="{42CCD6F8-83BF-6340-1FCE-D896E8996D96}"/>
              </a:ext>
            </a:extLst>
          </p:cNvPr>
          <p:cNvPicPr>
            <a:picLocks noChangeAspect="1"/>
          </p:cNvPicPr>
          <p:nvPr/>
        </p:nvPicPr>
        <p:blipFill>
          <a:blip r:embed="rId11"/>
          <a:stretch>
            <a:fillRect/>
          </a:stretch>
        </p:blipFill>
        <p:spPr>
          <a:xfrm>
            <a:off x="9444333" y="2956090"/>
            <a:ext cx="254527" cy="360000"/>
          </a:xfrm>
          <a:prstGeom prst="rect">
            <a:avLst/>
          </a:prstGeom>
        </p:spPr>
      </p:pic>
      <p:pic>
        <p:nvPicPr>
          <p:cNvPr id="25" name="Billede 29">
            <a:extLst>
              <a:ext uri="{FF2B5EF4-FFF2-40B4-BE49-F238E27FC236}">
                <a16:creationId xmlns:a16="http://schemas.microsoft.com/office/drawing/2014/main" id="{CDEA934E-35C5-1E2A-7E20-F6E61F0AC1ED}"/>
              </a:ext>
            </a:extLst>
          </p:cNvPr>
          <p:cNvPicPr>
            <a:picLocks noChangeAspect="1"/>
          </p:cNvPicPr>
          <p:nvPr/>
        </p:nvPicPr>
        <p:blipFill>
          <a:blip r:embed="rId12"/>
          <a:stretch>
            <a:fillRect/>
          </a:stretch>
        </p:blipFill>
        <p:spPr>
          <a:xfrm rot="10165366">
            <a:off x="9202802" y="3028047"/>
            <a:ext cx="254528" cy="360000"/>
          </a:xfrm>
          <a:prstGeom prst="rect">
            <a:avLst/>
          </a:prstGeom>
        </p:spPr>
      </p:pic>
      <p:pic>
        <p:nvPicPr>
          <p:cNvPr id="26" name="Billede 9">
            <a:extLst>
              <a:ext uri="{FF2B5EF4-FFF2-40B4-BE49-F238E27FC236}">
                <a16:creationId xmlns:a16="http://schemas.microsoft.com/office/drawing/2014/main" id="{989BD8EA-5CB1-0505-7A08-48928E5A005A}"/>
              </a:ext>
            </a:extLst>
          </p:cNvPr>
          <p:cNvPicPr>
            <a:picLocks noChangeAspect="1"/>
          </p:cNvPicPr>
          <p:nvPr/>
        </p:nvPicPr>
        <p:blipFill>
          <a:blip r:embed="rId13"/>
          <a:stretch>
            <a:fillRect/>
          </a:stretch>
        </p:blipFill>
        <p:spPr>
          <a:xfrm>
            <a:off x="8539545" y="4023496"/>
            <a:ext cx="3308579" cy="2338010"/>
          </a:xfrm>
          <a:prstGeom prst="rect">
            <a:avLst/>
          </a:prstGeom>
          <a:ln>
            <a:solidFill>
              <a:schemeClr val="accent1"/>
            </a:solidFill>
          </a:ln>
          <a:effectLst>
            <a:outerShdw blurRad="50800" dist="38100" dir="5400000" algn="t" rotWithShape="0">
              <a:prstClr val="black">
                <a:alpha val="40000"/>
              </a:prstClr>
            </a:outerShdw>
          </a:effectLst>
        </p:spPr>
      </p:pic>
      <p:pic>
        <p:nvPicPr>
          <p:cNvPr id="27" name="Billede 10">
            <a:extLst>
              <a:ext uri="{FF2B5EF4-FFF2-40B4-BE49-F238E27FC236}">
                <a16:creationId xmlns:a16="http://schemas.microsoft.com/office/drawing/2014/main" id="{69317538-6F21-EADF-5556-3BC9226FD0CD}"/>
              </a:ext>
            </a:extLst>
          </p:cNvPr>
          <p:cNvPicPr>
            <a:picLocks noChangeAspect="1"/>
          </p:cNvPicPr>
          <p:nvPr/>
        </p:nvPicPr>
        <p:blipFill>
          <a:blip r:embed="rId7"/>
          <a:stretch>
            <a:fillRect/>
          </a:stretch>
        </p:blipFill>
        <p:spPr>
          <a:xfrm rot="652110">
            <a:off x="9530230" y="5220054"/>
            <a:ext cx="458651" cy="648708"/>
          </a:xfrm>
          <a:prstGeom prst="rect">
            <a:avLst/>
          </a:prstGeom>
        </p:spPr>
      </p:pic>
      <p:pic>
        <p:nvPicPr>
          <p:cNvPr id="28" name="Billede 11">
            <a:extLst>
              <a:ext uri="{FF2B5EF4-FFF2-40B4-BE49-F238E27FC236}">
                <a16:creationId xmlns:a16="http://schemas.microsoft.com/office/drawing/2014/main" id="{04C9ED05-61FF-9D30-F680-9B7729726ED9}"/>
              </a:ext>
            </a:extLst>
          </p:cNvPr>
          <p:cNvPicPr>
            <a:picLocks noChangeAspect="1"/>
          </p:cNvPicPr>
          <p:nvPr/>
        </p:nvPicPr>
        <p:blipFill>
          <a:blip r:embed="rId12"/>
          <a:stretch>
            <a:fillRect/>
          </a:stretch>
        </p:blipFill>
        <p:spPr>
          <a:xfrm rot="10165366">
            <a:off x="9498101" y="4565810"/>
            <a:ext cx="458651" cy="648708"/>
          </a:xfrm>
          <a:prstGeom prst="rect">
            <a:avLst/>
          </a:prstGeom>
        </p:spPr>
      </p:pic>
      <p:pic>
        <p:nvPicPr>
          <p:cNvPr id="29" name="Billede 12">
            <a:extLst>
              <a:ext uri="{FF2B5EF4-FFF2-40B4-BE49-F238E27FC236}">
                <a16:creationId xmlns:a16="http://schemas.microsoft.com/office/drawing/2014/main" id="{DB99B8DC-A19A-BBAD-7CC9-7E0B5A51893E}"/>
              </a:ext>
            </a:extLst>
          </p:cNvPr>
          <p:cNvPicPr>
            <a:picLocks noChangeAspect="1"/>
          </p:cNvPicPr>
          <p:nvPr/>
        </p:nvPicPr>
        <p:blipFill>
          <a:blip r:embed="rId14"/>
          <a:stretch>
            <a:fillRect/>
          </a:stretch>
        </p:blipFill>
        <p:spPr>
          <a:xfrm rot="10800000">
            <a:off x="10325279" y="5208300"/>
            <a:ext cx="459174" cy="648709"/>
          </a:xfrm>
          <a:prstGeom prst="rect">
            <a:avLst/>
          </a:prstGeom>
        </p:spPr>
      </p:pic>
      <p:pic>
        <p:nvPicPr>
          <p:cNvPr id="32" name="Billede 13">
            <a:extLst>
              <a:ext uri="{FF2B5EF4-FFF2-40B4-BE49-F238E27FC236}">
                <a16:creationId xmlns:a16="http://schemas.microsoft.com/office/drawing/2014/main" id="{945B3DB8-C80E-F028-E2BF-181D4886ED85}"/>
              </a:ext>
            </a:extLst>
          </p:cNvPr>
          <p:cNvPicPr>
            <a:picLocks noChangeAspect="1"/>
          </p:cNvPicPr>
          <p:nvPr/>
        </p:nvPicPr>
        <p:blipFill>
          <a:blip r:embed="rId15"/>
          <a:stretch>
            <a:fillRect/>
          </a:stretch>
        </p:blipFill>
        <p:spPr>
          <a:xfrm rot="9763297">
            <a:off x="10342785" y="4600779"/>
            <a:ext cx="459174" cy="648709"/>
          </a:xfrm>
          <a:prstGeom prst="rect">
            <a:avLst/>
          </a:prstGeom>
        </p:spPr>
      </p:pic>
      <p:pic>
        <p:nvPicPr>
          <p:cNvPr id="37" name="Billede 14">
            <a:extLst>
              <a:ext uri="{FF2B5EF4-FFF2-40B4-BE49-F238E27FC236}">
                <a16:creationId xmlns:a16="http://schemas.microsoft.com/office/drawing/2014/main" id="{B8971B10-AC89-05C9-0B95-ED433F1C6E3F}"/>
              </a:ext>
            </a:extLst>
          </p:cNvPr>
          <p:cNvPicPr>
            <a:picLocks noChangeAspect="1"/>
          </p:cNvPicPr>
          <p:nvPr/>
        </p:nvPicPr>
        <p:blipFill>
          <a:blip r:embed="rId16"/>
          <a:stretch>
            <a:fillRect/>
          </a:stretch>
        </p:blipFill>
        <p:spPr>
          <a:xfrm rot="10800000">
            <a:off x="11164109" y="4518799"/>
            <a:ext cx="459174" cy="648709"/>
          </a:xfrm>
          <a:prstGeom prst="rect">
            <a:avLst/>
          </a:prstGeom>
        </p:spPr>
      </p:pic>
      <p:pic>
        <p:nvPicPr>
          <p:cNvPr id="38" name="Billede 15">
            <a:extLst>
              <a:ext uri="{FF2B5EF4-FFF2-40B4-BE49-F238E27FC236}">
                <a16:creationId xmlns:a16="http://schemas.microsoft.com/office/drawing/2014/main" id="{B2FF1B56-086E-C7B9-A25C-AC11CD55CB64}"/>
              </a:ext>
            </a:extLst>
          </p:cNvPr>
          <p:cNvPicPr>
            <a:picLocks noChangeAspect="1"/>
          </p:cNvPicPr>
          <p:nvPr/>
        </p:nvPicPr>
        <p:blipFill>
          <a:blip r:embed="rId17"/>
          <a:stretch>
            <a:fillRect/>
          </a:stretch>
        </p:blipFill>
        <p:spPr>
          <a:xfrm rot="11179830">
            <a:off x="11124474" y="5727059"/>
            <a:ext cx="458651" cy="648708"/>
          </a:xfrm>
          <a:prstGeom prst="rect">
            <a:avLst/>
          </a:prstGeom>
        </p:spPr>
      </p:pic>
      <p:pic>
        <p:nvPicPr>
          <p:cNvPr id="39" name="Billede 70">
            <a:extLst>
              <a:ext uri="{FF2B5EF4-FFF2-40B4-BE49-F238E27FC236}">
                <a16:creationId xmlns:a16="http://schemas.microsoft.com/office/drawing/2014/main" id="{D5E6944F-912D-D421-5730-B1E92793DA51}"/>
              </a:ext>
            </a:extLst>
          </p:cNvPr>
          <p:cNvPicPr>
            <a:picLocks noChangeAspect="1"/>
          </p:cNvPicPr>
          <p:nvPr/>
        </p:nvPicPr>
        <p:blipFill>
          <a:blip r:embed="rId18"/>
          <a:stretch>
            <a:fillRect/>
          </a:stretch>
        </p:blipFill>
        <p:spPr>
          <a:xfrm rot="10417343">
            <a:off x="11164109" y="5056997"/>
            <a:ext cx="459174" cy="648709"/>
          </a:xfrm>
          <a:prstGeom prst="rect">
            <a:avLst/>
          </a:prstGeom>
        </p:spPr>
      </p:pic>
    </p:spTree>
    <p:extLst>
      <p:ext uri="{BB962C8B-B14F-4D97-AF65-F5344CB8AC3E}">
        <p14:creationId xmlns:p14="http://schemas.microsoft.com/office/powerpoint/2010/main" val="3717121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alpha val="34000"/>
          </a:schemeClr>
        </a:solidFill>
        <a:effectLst/>
      </p:bgPr>
    </p:bg>
    <p:spTree>
      <p:nvGrpSpPr>
        <p:cNvPr id="1" name="">
          <a:extLst>
            <a:ext uri="{FF2B5EF4-FFF2-40B4-BE49-F238E27FC236}">
              <a16:creationId xmlns:a16="http://schemas.microsoft.com/office/drawing/2014/main" id="{5164A725-E8DF-3DCD-751A-E8B81234F0A7}"/>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7B8E370F-AC06-1452-3862-43B93D1A7A20}"/>
              </a:ext>
            </a:extLst>
          </p:cNvPr>
          <p:cNvGraphicFramePr>
            <a:graphicFrameLocks noChangeAspect="1"/>
          </p:cNvGraphicFramePr>
          <p:nvPr>
            <p:custDataLst>
              <p:tags r:id="rId1"/>
            </p:custDataLst>
            <p:extLst>
              <p:ext uri="{D42A27DB-BD31-4B8C-83A1-F6EECF244321}">
                <p14:modId xmlns:p14="http://schemas.microsoft.com/office/powerpoint/2010/main" val="1226133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2" name="think-cell data - do not delete" hidden="1">
                        <a:extLst>
                          <a:ext uri="{FF2B5EF4-FFF2-40B4-BE49-F238E27FC236}">
                            <a16:creationId xmlns:a16="http://schemas.microsoft.com/office/drawing/2014/main" id="{7B8E370F-AC06-1452-3862-43B93D1A7A2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Arrow: Right 3">
            <a:extLst>
              <a:ext uri="{FF2B5EF4-FFF2-40B4-BE49-F238E27FC236}">
                <a16:creationId xmlns:a16="http://schemas.microsoft.com/office/drawing/2014/main" id="{B5353BE9-D103-71F0-FD3C-972ACF390B43}"/>
              </a:ext>
            </a:extLst>
          </p:cNvPr>
          <p:cNvSpPr/>
          <p:nvPr/>
        </p:nvSpPr>
        <p:spPr>
          <a:xfrm>
            <a:off x="498941" y="5446670"/>
            <a:ext cx="10906972" cy="461923"/>
          </a:xfrm>
          <a:custGeom>
            <a:avLst/>
            <a:gdLst>
              <a:gd name="connsiteX0" fmla="*/ 0 w 10906972"/>
              <a:gd name="connsiteY0" fmla="*/ 115481 h 461923"/>
              <a:gd name="connsiteX1" fmla="*/ 880771 w 10906972"/>
              <a:gd name="connsiteY1" fmla="*/ 115481 h 461923"/>
              <a:gd name="connsiteX2" fmla="*/ 1761542 w 10906972"/>
              <a:gd name="connsiteY2" fmla="*/ 115481 h 461923"/>
              <a:gd name="connsiteX3" fmla="*/ 2428793 w 10906972"/>
              <a:gd name="connsiteY3" fmla="*/ 115481 h 461923"/>
              <a:gd name="connsiteX4" fmla="*/ 2882523 w 10906972"/>
              <a:gd name="connsiteY4" fmla="*/ 115481 h 461923"/>
              <a:gd name="connsiteX5" fmla="*/ 3549774 w 10906972"/>
              <a:gd name="connsiteY5" fmla="*/ 115481 h 461923"/>
              <a:gd name="connsiteX6" fmla="*/ 4217024 w 10906972"/>
              <a:gd name="connsiteY6" fmla="*/ 115481 h 461923"/>
              <a:gd name="connsiteX7" fmla="*/ 5097795 w 10906972"/>
              <a:gd name="connsiteY7" fmla="*/ 115481 h 461923"/>
              <a:gd name="connsiteX8" fmla="*/ 5978566 w 10906972"/>
              <a:gd name="connsiteY8" fmla="*/ 115481 h 461923"/>
              <a:gd name="connsiteX9" fmla="*/ 6539057 w 10906972"/>
              <a:gd name="connsiteY9" fmla="*/ 115481 h 461923"/>
              <a:gd name="connsiteX10" fmla="*/ 6992787 w 10906972"/>
              <a:gd name="connsiteY10" fmla="*/ 115481 h 461923"/>
              <a:gd name="connsiteX11" fmla="*/ 7553278 w 10906972"/>
              <a:gd name="connsiteY11" fmla="*/ 115481 h 461923"/>
              <a:gd name="connsiteX12" fmla="*/ 8220528 w 10906972"/>
              <a:gd name="connsiteY12" fmla="*/ 115481 h 461923"/>
              <a:gd name="connsiteX13" fmla="*/ 8781019 w 10906972"/>
              <a:gd name="connsiteY13" fmla="*/ 115481 h 461923"/>
              <a:gd name="connsiteX14" fmla="*/ 9341510 w 10906972"/>
              <a:gd name="connsiteY14" fmla="*/ 115481 h 461923"/>
              <a:gd name="connsiteX15" fmla="*/ 10008760 w 10906972"/>
              <a:gd name="connsiteY15" fmla="*/ 115481 h 461923"/>
              <a:gd name="connsiteX16" fmla="*/ 10676011 w 10906972"/>
              <a:gd name="connsiteY16" fmla="*/ 115481 h 461923"/>
              <a:gd name="connsiteX17" fmla="*/ 10676011 w 10906972"/>
              <a:gd name="connsiteY17" fmla="*/ 0 h 461923"/>
              <a:gd name="connsiteX18" fmla="*/ 10906972 w 10906972"/>
              <a:gd name="connsiteY18" fmla="*/ 230962 h 461923"/>
              <a:gd name="connsiteX19" fmla="*/ 10676011 w 10906972"/>
              <a:gd name="connsiteY19" fmla="*/ 461923 h 461923"/>
              <a:gd name="connsiteX20" fmla="*/ 10676011 w 10906972"/>
              <a:gd name="connsiteY20" fmla="*/ 346442 h 461923"/>
              <a:gd name="connsiteX21" fmla="*/ 10115520 w 10906972"/>
              <a:gd name="connsiteY21" fmla="*/ 346442 h 461923"/>
              <a:gd name="connsiteX22" fmla="*/ 9555030 w 10906972"/>
              <a:gd name="connsiteY22" fmla="*/ 346442 h 461923"/>
              <a:gd name="connsiteX23" fmla="*/ 8674259 w 10906972"/>
              <a:gd name="connsiteY23" fmla="*/ 346442 h 461923"/>
              <a:gd name="connsiteX24" fmla="*/ 7900248 w 10906972"/>
              <a:gd name="connsiteY24" fmla="*/ 346442 h 461923"/>
              <a:gd name="connsiteX25" fmla="*/ 7446518 w 10906972"/>
              <a:gd name="connsiteY25" fmla="*/ 346442 h 461923"/>
              <a:gd name="connsiteX26" fmla="*/ 6886027 w 10906972"/>
              <a:gd name="connsiteY26" fmla="*/ 346442 h 461923"/>
              <a:gd name="connsiteX27" fmla="*/ 6218776 w 10906972"/>
              <a:gd name="connsiteY27" fmla="*/ 346442 h 461923"/>
              <a:gd name="connsiteX28" fmla="*/ 5765046 w 10906972"/>
              <a:gd name="connsiteY28" fmla="*/ 346442 h 461923"/>
              <a:gd name="connsiteX29" fmla="*/ 4991035 w 10906972"/>
              <a:gd name="connsiteY29" fmla="*/ 346442 h 461923"/>
              <a:gd name="connsiteX30" fmla="*/ 4323784 w 10906972"/>
              <a:gd name="connsiteY30" fmla="*/ 346442 h 461923"/>
              <a:gd name="connsiteX31" fmla="*/ 3549774 w 10906972"/>
              <a:gd name="connsiteY31" fmla="*/ 346442 h 461923"/>
              <a:gd name="connsiteX32" fmla="*/ 2669003 w 10906972"/>
              <a:gd name="connsiteY32" fmla="*/ 346442 h 461923"/>
              <a:gd name="connsiteX33" fmla="*/ 2108512 w 10906972"/>
              <a:gd name="connsiteY33" fmla="*/ 346442 h 461923"/>
              <a:gd name="connsiteX34" fmla="*/ 1761542 w 10906972"/>
              <a:gd name="connsiteY34" fmla="*/ 346442 h 461923"/>
              <a:gd name="connsiteX35" fmla="*/ 880771 w 10906972"/>
              <a:gd name="connsiteY35" fmla="*/ 346442 h 461923"/>
              <a:gd name="connsiteX36" fmla="*/ 0 w 10906972"/>
              <a:gd name="connsiteY36" fmla="*/ 346442 h 461923"/>
              <a:gd name="connsiteX37" fmla="*/ 0 w 10906972"/>
              <a:gd name="connsiteY37" fmla="*/ 115481 h 46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06972" h="461923" fill="none" extrusionOk="0">
                <a:moveTo>
                  <a:pt x="0" y="115481"/>
                </a:moveTo>
                <a:cubicBezTo>
                  <a:pt x="438458" y="109904"/>
                  <a:pt x="626747" y="116670"/>
                  <a:pt x="880771" y="115481"/>
                </a:cubicBezTo>
                <a:cubicBezTo>
                  <a:pt x="1134795" y="114292"/>
                  <a:pt x="1368597" y="106554"/>
                  <a:pt x="1761542" y="115481"/>
                </a:cubicBezTo>
                <a:cubicBezTo>
                  <a:pt x="2154487" y="124408"/>
                  <a:pt x="2136619" y="126041"/>
                  <a:pt x="2428793" y="115481"/>
                </a:cubicBezTo>
                <a:cubicBezTo>
                  <a:pt x="2720967" y="104921"/>
                  <a:pt x="2710904" y="100861"/>
                  <a:pt x="2882523" y="115481"/>
                </a:cubicBezTo>
                <a:cubicBezTo>
                  <a:pt x="3054142" y="130102"/>
                  <a:pt x="3224391" y="144856"/>
                  <a:pt x="3549774" y="115481"/>
                </a:cubicBezTo>
                <a:cubicBezTo>
                  <a:pt x="3875157" y="86106"/>
                  <a:pt x="3966515" y="137063"/>
                  <a:pt x="4217024" y="115481"/>
                </a:cubicBezTo>
                <a:cubicBezTo>
                  <a:pt x="4467533" y="93900"/>
                  <a:pt x="4708977" y="137705"/>
                  <a:pt x="5097795" y="115481"/>
                </a:cubicBezTo>
                <a:cubicBezTo>
                  <a:pt x="5486613" y="93257"/>
                  <a:pt x="5778972" y="100194"/>
                  <a:pt x="5978566" y="115481"/>
                </a:cubicBezTo>
                <a:cubicBezTo>
                  <a:pt x="6178160" y="130768"/>
                  <a:pt x="6299050" y="138739"/>
                  <a:pt x="6539057" y="115481"/>
                </a:cubicBezTo>
                <a:cubicBezTo>
                  <a:pt x="6779064" y="92223"/>
                  <a:pt x="6833179" y="113885"/>
                  <a:pt x="6992787" y="115481"/>
                </a:cubicBezTo>
                <a:cubicBezTo>
                  <a:pt x="7152395" y="117078"/>
                  <a:pt x="7360331" y="106953"/>
                  <a:pt x="7553278" y="115481"/>
                </a:cubicBezTo>
                <a:cubicBezTo>
                  <a:pt x="7746225" y="124009"/>
                  <a:pt x="8019663" y="114394"/>
                  <a:pt x="8220528" y="115481"/>
                </a:cubicBezTo>
                <a:cubicBezTo>
                  <a:pt x="8421393" y="116569"/>
                  <a:pt x="8634246" y="102570"/>
                  <a:pt x="8781019" y="115481"/>
                </a:cubicBezTo>
                <a:cubicBezTo>
                  <a:pt x="8927792" y="128392"/>
                  <a:pt x="9092505" y="112416"/>
                  <a:pt x="9341510" y="115481"/>
                </a:cubicBezTo>
                <a:cubicBezTo>
                  <a:pt x="9590515" y="118546"/>
                  <a:pt x="9856610" y="109564"/>
                  <a:pt x="10008760" y="115481"/>
                </a:cubicBezTo>
                <a:cubicBezTo>
                  <a:pt x="10160910" y="121399"/>
                  <a:pt x="10442864" y="95760"/>
                  <a:pt x="10676011" y="115481"/>
                </a:cubicBezTo>
                <a:cubicBezTo>
                  <a:pt x="10671213" y="62201"/>
                  <a:pt x="10679970" y="29665"/>
                  <a:pt x="10676011" y="0"/>
                </a:cubicBezTo>
                <a:cubicBezTo>
                  <a:pt x="10788769" y="111145"/>
                  <a:pt x="10840383" y="169923"/>
                  <a:pt x="10906972" y="230962"/>
                </a:cubicBezTo>
                <a:cubicBezTo>
                  <a:pt x="10841453" y="288821"/>
                  <a:pt x="10732738" y="404830"/>
                  <a:pt x="10676011" y="461923"/>
                </a:cubicBezTo>
                <a:cubicBezTo>
                  <a:pt x="10677694" y="407823"/>
                  <a:pt x="10680798" y="387790"/>
                  <a:pt x="10676011" y="346442"/>
                </a:cubicBezTo>
                <a:cubicBezTo>
                  <a:pt x="10496716" y="371705"/>
                  <a:pt x="10241583" y="355080"/>
                  <a:pt x="10115520" y="346442"/>
                </a:cubicBezTo>
                <a:cubicBezTo>
                  <a:pt x="9989457" y="337804"/>
                  <a:pt x="9734133" y="330763"/>
                  <a:pt x="9555030" y="346442"/>
                </a:cubicBezTo>
                <a:cubicBezTo>
                  <a:pt x="9375927" y="362122"/>
                  <a:pt x="8881149" y="381753"/>
                  <a:pt x="8674259" y="346442"/>
                </a:cubicBezTo>
                <a:cubicBezTo>
                  <a:pt x="8467369" y="311131"/>
                  <a:pt x="8119618" y="363260"/>
                  <a:pt x="7900248" y="346442"/>
                </a:cubicBezTo>
                <a:cubicBezTo>
                  <a:pt x="7680878" y="329624"/>
                  <a:pt x="7570290" y="356834"/>
                  <a:pt x="7446518" y="346442"/>
                </a:cubicBezTo>
                <a:cubicBezTo>
                  <a:pt x="7322746" y="336051"/>
                  <a:pt x="7011380" y="351165"/>
                  <a:pt x="6886027" y="346442"/>
                </a:cubicBezTo>
                <a:cubicBezTo>
                  <a:pt x="6760674" y="341719"/>
                  <a:pt x="6401081" y="351172"/>
                  <a:pt x="6218776" y="346442"/>
                </a:cubicBezTo>
                <a:cubicBezTo>
                  <a:pt x="6036471" y="341712"/>
                  <a:pt x="5874516" y="344219"/>
                  <a:pt x="5765046" y="346442"/>
                </a:cubicBezTo>
                <a:cubicBezTo>
                  <a:pt x="5655576" y="348666"/>
                  <a:pt x="5156925" y="349496"/>
                  <a:pt x="4991035" y="346442"/>
                </a:cubicBezTo>
                <a:cubicBezTo>
                  <a:pt x="4825145" y="343388"/>
                  <a:pt x="4641195" y="316283"/>
                  <a:pt x="4323784" y="346442"/>
                </a:cubicBezTo>
                <a:cubicBezTo>
                  <a:pt x="4006373" y="376601"/>
                  <a:pt x="3862408" y="310255"/>
                  <a:pt x="3549774" y="346442"/>
                </a:cubicBezTo>
                <a:cubicBezTo>
                  <a:pt x="3237140" y="382630"/>
                  <a:pt x="3053653" y="322557"/>
                  <a:pt x="2669003" y="346442"/>
                </a:cubicBezTo>
                <a:cubicBezTo>
                  <a:pt x="2284353" y="370327"/>
                  <a:pt x="2329378" y="348914"/>
                  <a:pt x="2108512" y="346442"/>
                </a:cubicBezTo>
                <a:cubicBezTo>
                  <a:pt x="1887646" y="343970"/>
                  <a:pt x="1908443" y="330181"/>
                  <a:pt x="1761542" y="346442"/>
                </a:cubicBezTo>
                <a:cubicBezTo>
                  <a:pt x="1614641" y="362704"/>
                  <a:pt x="1073620" y="346834"/>
                  <a:pt x="880771" y="346442"/>
                </a:cubicBezTo>
                <a:cubicBezTo>
                  <a:pt x="687922" y="346050"/>
                  <a:pt x="279485" y="315633"/>
                  <a:pt x="0" y="346442"/>
                </a:cubicBezTo>
                <a:cubicBezTo>
                  <a:pt x="-3040" y="277843"/>
                  <a:pt x="-1394" y="210682"/>
                  <a:pt x="0" y="115481"/>
                </a:cubicBezTo>
                <a:close/>
              </a:path>
              <a:path w="10906972" h="461923" stroke="0" extrusionOk="0">
                <a:moveTo>
                  <a:pt x="0" y="115481"/>
                </a:moveTo>
                <a:cubicBezTo>
                  <a:pt x="186257" y="112677"/>
                  <a:pt x="421980" y="122415"/>
                  <a:pt x="667251" y="115481"/>
                </a:cubicBezTo>
                <a:cubicBezTo>
                  <a:pt x="912522" y="108547"/>
                  <a:pt x="1070114" y="114333"/>
                  <a:pt x="1441261" y="115481"/>
                </a:cubicBezTo>
                <a:cubicBezTo>
                  <a:pt x="1812408" y="116630"/>
                  <a:pt x="1808051" y="110686"/>
                  <a:pt x="2001752" y="115481"/>
                </a:cubicBezTo>
                <a:cubicBezTo>
                  <a:pt x="2195453" y="120276"/>
                  <a:pt x="2188881" y="99676"/>
                  <a:pt x="2348722" y="115481"/>
                </a:cubicBezTo>
                <a:cubicBezTo>
                  <a:pt x="2508563" y="131287"/>
                  <a:pt x="2831459" y="129658"/>
                  <a:pt x="3122733" y="115481"/>
                </a:cubicBezTo>
                <a:cubicBezTo>
                  <a:pt x="3414007" y="101304"/>
                  <a:pt x="3622780" y="109700"/>
                  <a:pt x="3789984" y="115481"/>
                </a:cubicBezTo>
                <a:cubicBezTo>
                  <a:pt x="3957188" y="121262"/>
                  <a:pt x="4263079" y="126456"/>
                  <a:pt x="4563995" y="115481"/>
                </a:cubicBezTo>
                <a:cubicBezTo>
                  <a:pt x="4864911" y="104506"/>
                  <a:pt x="5154991" y="97437"/>
                  <a:pt x="5444766" y="115481"/>
                </a:cubicBezTo>
                <a:cubicBezTo>
                  <a:pt x="5734541" y="133525"/>
                  <a:pt x="5929841" y="134162"/>
                  <a:pt x="6112016" y="115481"/>
                </a:cubicBezTo>
                <a:cubicBezTo>
                  <a:pt x="6294191" y="96801"/>
                  <a:pt x="6611383" y="144772"/>
                  <a:pt x="6886027" y="115481"/>
                </a:cubicBezTo>
                <a:cubicBezTo>
                  <a:pt x="7160671" y="86190"/>
                  <a:pt x="7305954" y="136116"/>
                  <a:pt x="7553278" y="115481"/>
                </a:cubicBezTo>
                <a:cubicBezTo>
                  <a:pt x="7800602" y="94846"/>
                  <a:pt x="7833865" y="112308"/>
                  <a:pt x="8113768" y="115481"/>
                </a:cubicBezTo>
                <a:cubicBezTo>
                  <a:pt x="8393671" y="118655"/>
                  <a:pt x="8748513" y="137373"/>
                  <a:pt x="8994539" y="115481"/>
                </a:cubicBezTo>
                <a:cubicBezTo>
                  <a:pt x="9240565" y="93589"/>
                  <a:pt x="9236528" y="99548"/>
                  <a:pt x="9341510" y="115481"/>
                </a:cubicBezTo>
                <a:cubicBezTo>
                  <a:pt x="9446492" y="131414"/>
                  <a:pt x="9769428" y="123342"/>
                  <a:pt x="9902000" y="115481"/>
                </a:cubicBezTo>
                <a:cubicBezTo>
                  <a:pt x="10034572" y="107621"/>
                  <a:pt x="10498490" y="76971"/>
                  <a:pt x="10676011" y="115481"/>
                </a:cubicBezTo>
                <a:cubicBezTo>
                  <a:pt x="10672329" y="74434"/>
                  <a:pt x="10680131" y="50805"/>
                  <a:pt x="10676011" y="0"/>
                </a:cubicBezTo>
                <a:cubicBezTo>
                  <a:pt x="10781364" y="82917"/>
                  <a:pt x="10853093" y="184437"/>
                  <a:pt x="10906972" y="230962"/>
                </a:cubicBezTo>
                <a:cubicBezTo>
                  <a:pt x="10808038" y="323754"/>
                  <a:pt x="10759558" y="379829"/>
                  <a:pt x="10676011" y="461923"/>
                </a:cubicBezTo>
                <a:cubicBezTo>
                  <a:pt x="10673542" y="410453"/>
                  <a:pt x="10672383" y="387192"/>
                  <a:pt x="10676011" y="346442"/>
                </a:cubicBezTo>
                <a:cubicBezTo>
                  <a:pt x="10294674" y="378264"/>
                  <a:pt x="10117918" y="376051"/>
                  <a:pt x="9902000" y="346442"/>
                </a:cubicBezTo>
                <a:cubicBezTo>
                  <a:pt x="9686082" y="316833"/>
                  <a:pt x="9643963" y="329290"/>
                  <a:pt x="9448270" y="346442"/>
                </a:cubicBezTo>
                <a:cubicBezTo>
                  <a:pt x="9252577" y="363595"/>
                  <a:pt x="8940881" y="319721"/>
                  <a:pt x="8674259" y="346442"/>
                </a:cubicBezTo>
                <a:cubicBezTo>
                  <a:pt x="8407637" y="373163"/>
                  <a:pt x="8355261" y="342367"/>
                  <a:pt x="8220528" y="346442"/>
                </a:cubicBezTo>
                <a:cubicBezTo>
                  <a:pt x="8085795" y="350517"/>
                  <a:pt x="7744935" y="373897"/>
                  <a:pt x="7553278" y="346442"/>
                </a:cubicBezTo>
                <a:cubicBezTo>
                  <a:pt x="7361621" y="318988"/>
                  <a:pt x="7313845" y="345160"/>
                  <a:pt x="7206307" y="346442"/>
                </a:cubicBezTo>
                <a:cubicBezTo>
                  <a:pt x="7098769" y="347724"/>
                  <a:pt x="6655067" y="366862"/>
                  <a:pt x="6432297" y="346442"/>
                </a:cubicBezTo>
                <a:cubicBezTo>
                  <a:pt x="6209527" y="326023"/>
                  <a:pt x="6220291" y="330828"/>
                  <a:pt x="6085326" y="346442"/>
                </a:cubicBezTo>
                <a:cubicBezTo>
                  <a:pt x="5950361" y="362056"/>
                  <a:pt x="5762524" y="360415"/>
                  <a:pt x="5524836" y="346442"/>
                </a:cubicBezTo>
                <a:cubicBezTo>
                  <a:pt x="5287148" y="332470"/>
                  <a:pt x="5125378" y="357866"/>
                  <a:pt x="4964345" y="346442"/>
                </a:cubicBezTo>
                <a:cubicBezTo>
                  <a:pt x="4803312" y="335018"/>
                  <a:pt x="4732540" y="350059"/>
                  <a:pt x="4617375" y="346442"/>
                </a:cubicBezTo>
                <a:cubicBezTo>
                  <a:pt x="4502210" y="342826"/>
                  <a:pt x="3926768" y="304112"/>
                  <a:pt x="3736604" y="346442"/>
                </a:cubicBezTo>
                <a:cubicBezTo>
                  <a:pt x="3546440" y="388772"/>
                  <a:pt x="3252367" y="342326"/>
                  <a:pt x="2855833" y="346442"/>
                </a:cubicBezTo>
                <a:cubicBezTo>
                  <a:pt x="2459299" y="350558"/>
                  <a:pt x="2236777" y="336137"/>
                  <a:pt x="2081822" y="346442"/>
                </a:cubicBezTo>
                <a:cubicBezTo>
                  <a:pt x="1926867" y="356747"/>
                  <a:pt x="1807531" y="336373"/>
                  <a:pt x="1734852" y="346442"/>
                </a:cubicBezTo>
                <a:cubicBezTo>
                  <a:pt x="1662173" y="356512"/>
                  <a:pt x="1164428" y="305197"/>
                  <a:pt x="854081" y="346442"/>
                </a:cubicBezTo>
                <a:cubicBezTo>
                  <a:pt x="543734" y="387687"/>
                  <a:pt x="234974" y="354399"/>
                  <a:pt x="0" y="346442"/>
                </a:cubicBezTo>
                <a:cubicBezTo>
                  <a:pt x="743" y="246718"/>
                  <a:pt x="5788" y="195047"/>
                  <a:pt x="0" y="115481"/>
                </a:cubicBezTo>
                <a:close/>
              </a:path>
            </a:pathLst>
          </a:custGeom>
          <a:solidFill>
            <a:srgbClr val="97A2BB">
              <a:alpha val="50000"/>
            </a:srgbClr>
          </a:solidFill>
          <a:ln>
            <a:solidFill>
              <a:srgbClr val="97A2BD"/>
            </a:solidFill>
            <a:extLst>
              <a:ext uri="{C807C97D-BFC1-408E-A445-0C87EB9F89A2}">
                <ask:lineSketchStyleProps xmlns:ask="http://schemas.microsoft.com/office/drawing/2018/sketchyshapes" sd="4024293365">
                  <a:prstGeom prst="rightArrow">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Pladsholder til slidenummer 4">
            <a:extLst>
              <a:ext uri="{FF2B5EF4-FFF2-40B4-BE49-F238E27FC236}">
                <a16:creationId xmlns:a16="http://schemas.microsoft.com/office/drawing/2014/main" id="{FFD4C78C-6E6B-ED2D-3197-2CC9DDB2A9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cxnSp>
        <p:nvCxnSpPr>
          <p:cNvPr id="16" name="Straight Connector 15">
            <a:extLst>
              <a:ext uri="{FF2B5EF4-FFF2-40B4-BE49-F238E27FC236}">
                <a16:creationId xmlns:a16="http://schemas.microsoft.com/office/drawing/2014/main" id="{440B390C-AB58-59BC-E307-13FBC96A7B2B}"/>
              </a:ext>
            </a:extLst>
          </p:cNvPr>
          <p:cNvCxnSpPr/>
          <p:nvPr/>
        </p:nvCxnSpPr>
        <p:spPr>
          <a:xfrm>
            <a:off x="11029142" y="3101910"/>
            <a:ext cx="0" cy="2448000"/>
          </a:xfrm>
          <a:prstGeom prst="line">
            <a:avLst/>
          </a:prstGeom>
          <a:ln>
            <a:solidFill>
              <a:srgbClr val="97A2BB"/>
            </a:solidFill>
            <a:prstDash val="dash"/>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35CB9647-B1A6-87D0-53F5-E5EE5DA889ED}"/>
              </a:ext>
            </a:extLst>
          </p:cNvPr>
          <p:cNvCxnSpPr/>
          <p:nvPr/>
        </p:nvCxnSpPr>
        <p:spPr>
          <a:xfrm>
            <a:off x="968005" y="3101910"/>
            <a:ext cx="0" cy="2448000"/>
          </a:xfrm>
          <a:prstGeom prst="line">
            <a:avLst/>
          </a:prstGeom>
          <a:ln>
            <a:solidFill>
              <a:srgbClr val="97A2BB"/>
            </a:solidFill>
            <a:prstDash val="dash"/>
          </a:ln>
        </p:spPr>
        <p:style>
          <a:lnRef idx="2">
            <a:schemeClr val="accent1"/>
          </a:lnRef>
          <a:fillRef idx="0">
            <a:schemeClr val="accent1"/>
          </a:fillRef>
          <a:effectRef idx="1">
            <a:schemeClr val="accent1"/>
          </a:effectRef>
          <a:fontRef idx="minor">
            <a:schemeClr val="tx1"/>
          </a:fontRef>
        </p:style>
      </p:cxnSp>
      <p:grpSp>
        <p:nvGrpSpPr>
          <p:cNvPr id="62" name="Group 61">
            <a:extLst>
              <a:ext uri="{FF2B5EF4-FFF2-40B4-BE49-F238E27FC236}">
                <a16:creationId xmlns:a16="http://schemas.microsoft.com/office/drawing/2014/main" id="{4A42F085-9D09-7667-F171-FEF25AD6CBBA}"/>
              </a:ext>
            </a:extLst>
          </p:cNvPr>
          <p:cNvGrpSpPr/>
          <p:nvPr/>
        </p:nvGrpSpPr>
        <p:grpSpPr>
          <a:xfrm>
            <a:off x="608005" y="2449720"/>
            <a:ext cx="720000" cy="720000"/>
            <a:chOff x="6782390" y="-328146"/>
            <a:chExt cx="1011125" cy="1011570"/>
          </a:xfrm>
        </p:grpSpPr>
        <p:sp>
          <p:nvSpPr>
            <p:cNvPr id="63" name="Freeform: Shape 326">
              <a:extLst>
                <a:ext uri="{FF2B5EF4-FFF2-40B4-BE49-F238E27FC236}">
                  <a16:creationId xmlns:a16="http://schemas.microsoft.com/office/drawing/2014/main" id="{822FDE53-D86C-3956-AC6A-CE8B4E21767A}"/>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242E5E"/>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Verdana" panose="020B0604030504040204" pitchFamily="34" charset="0"/>
                <a:ea typeface="Verdana" panose="020B0604030504040204" pitchFamily="34" charset="0"/>
              </a:endParaRPr>
            </a:p>
          </p:txBody>
        </p:sp>
        <p:sp>
          <p:nvSpPr>
            <p:cNvPr id="64" name="Freeform: Shape 327">
              <a:extLst>
                <a:ext uri="{FF2B5EF4-FFF2-40B4-BE49-F238E27FC236}">
                  <a16:creationId xmlns:a16="http://schemas.microsoft.com/office/drawing/2014/main" id="{C4E4B344-8884-AA7D-C6FB-5198B9C77784}"/>
                </a:ext>
              </a:extLst>
            </p:cNvPr>
            <p:cNvSpPr/>
            <p:nvPr/>
          </p:nvSpPr>
          <p:spPr>
            <a:xfrm>
              <a:off x="6800768" y="-328146"/>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E0E3EB"/>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1000" b="1" dirty="0">
                  <a:latin typeface="Verdana" panose="020B0604030504040204" pitchFamily="34" charset="0"/>
                  <a:ea typeface="Verdana" panose="020B0604030504040204" pitchFamily="34" charset="0"/>
                </a:rPr>
                <a:t>Årstal</a:t>
              </a:r>
            </a:p>
          </p:txBody>
        </p:sp>
      </p:grpSp>
      <p:sp>
        <p:nvSpPr>
          <p:cNvPr id="72" name="Title 1">
            <a:extLst>
              <a:ext uri="{FF2B5EF4-FFF2-40B4-BE49-F238E27FC236}">
                <a16:creationId xmlns:a16="http://schemas.microsoft.com/office/drawing/2014/main" id="{6CF1ACEA-54BE-1DBF-7DF3-2B57662F1954}"/>
              </a:ext>
            </a:extLst>
          </p:cNvPr>
          <p:cNvSpPr>
            <a:spLocks noGrp="1"/>
          </p:cNvSpPr>
          <p:nvPr>
            <p:ph type="title"/>
          </p:nvPr>
        </p:nvSpPr>
        <p:spPr>
          <a:xfrm>
            <a:off x="522889" y="500062"/>
            <a:ext cx="10830911" cy="1325563"/>
          </a:xfrm>
        </p:spPr>
        <p:txBody>
          <a:bodyPr vert="horz">
            <a:normAutofit/>
          </a:bodyPr>
          <a:lstStyle/>
          <a:p>
            <a:r>
              <a:rPr lang="da-DK" sz="4000" dirty="0">
                <a:solidFill>
                  <a:srgbClr val="005850"/>
                </a:solidFill>
                <a:latin typeface="Verdana" panose="020B0604030504040204" pitchFamily="34" charset="0"/>
                <a:ea typeface="Verdana" panose="020B0604030504040204" pitchFamily="34" charset="0"/>
              </a:rPr>
              <a:t>Året der er gået</a:t>
            </a:r>
          </a:p>
        </p:txBody>
      </p:sp>
      <p:grpSp>
        <p:nvGrpSpPr>
          <p:cNvPr id="82" name="Group 81">
            <a:extLst>
              <a:ext uri="{FF2B5EF4-FFF2-40B4-BE49-F238E27FC236}">
                <a16:creationId xmlns:a16="http://schemas.microsoft.com/office/drawing/2014/main" id="{2E3A28E7-5836-48B1-7628-CD865F705130}"/>
              </a:ext>
            </a:extLst>
          </p:cNvPr>
          <p:cNvGrpSpPr/>
          <p:nvPr/>
        </p:nvGrpSpPr>
        <p:grpSpPr>
          <a:xfrm>
            <a:off x="10669142" y="2456450"/>
            <a:ext cx="720000" cy="720000"/>
            <a:chOff x="6782390" y="-328146"/>
            <a:chExt cx="1011125" cy="1011570"/>
          </a:xfrm>
        </p:grpSpPr>
        <p:sp>
          <p:nvSpPr>
            <p:cNvPr id="83" name="Freeform: Shape 326">
              <a:extLst>
                <a:ext uri="{FF2B5EF4-FFF2-40B4-BE49-F238E27FC236}">
                  <a16:creationId xmlns:a16="http://schemas.microsoft.com/office/drawing/2014/main" id="{45A5EEA0-61F5-CCB6-139E-8BED393AC640}"/>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242E5E"/>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Verdana" panose="020B0604030504040204" pitchFamily="34" charset="0"/>
                <a:ea typeface="Verdana" panose="020B0604030504040204" pitchFamily="34" charset="0"/>
              </a:endParaRPr>
            </a:p>
          </p:txBody>
        </p:sp>
        <p:sp>
          <p:nvSpPr>
            <p:cNvPr id="84" name="Freeform: Shape 327">
              <a:extLst>
                <a:ext uri="{FF2B5EF4-FFF2-40B4-BE49-F238E27FC236}">
                  <a16:creationId xmlns:a16="http://schemas.microsoft.com/office/drawing/2014/main" id="{7CD2559A-0D6A-7D13-7694-6CB6E77D7426}"/>
                </a:ext>
              </a:extLst>
            </p:cNvPr>
            <p:cNvSpPr/>
            <p:nvPr/>
          </p:nvSpPr>
          <p:spPr>
            <a:xfrm>
              <a:off x="6800768" y="-328146"/>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E0E3EB"/>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1000" b="1">
                  <a:latin typeface="Verdana" panose="020B0604030504040204" pitchFamily="34" charset="0"/>
                  <a:ea typeface="Verdana" panose="020B0604030504040204" pitchFamily="34" charset="0"/>
                </a:rPr>
                <a:t>Årstal</a:t>
              </a:r>
            </a:p>
          </p:txBody>
        </p:sp>
      </p:grpSp>
      <p:sp>
        <p:nvSpPr>
          <p:cNvPr id="2" name="Rectangle 1">
            <a:extLst>
              <a:ext uri="{FF2B5EF4-FFF2-40B4-BE49-F238E27FC236}">
                <a16:creationId xmlns:a16="http://schemas.microsoft.com/office/drawing/2014/main" id="{D7E5E696-CB89-0DD6-933B-540CB4C6DADE}"/>
              </a:ext>
            </a:extLst>
          </p:cNvPr>
          <p:cNvSpPr/>
          <p:nvPr/>
        </p:nvSpPr>
        <p:spPr>
          <a:xfrm>
            <a:off x="522889" y="1513249"/>
            <a:ext cx="10866253" cy="5642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Hvis I har nogle særlige højdepunkter eller resultater fra indsatsen med ESG, kan I tilføje dem </a:t>
            </a:r>
            <a:r>
              <a:rPr lang="da-DK" sz="11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her. </a:t>
            </a:r>
            <a:r>
              <a:rPr lang="da-DK" sz="1100" i="1"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t kan eksempelvis være aktiviteter, der har haft særlig betydning eller har gjort en markant forskel i forhold til jeres ESG-initiativer.  </a:t>
            </a:r>
          </a:p>
        </p:txBody>
      </p:sp>
      <p:grpSp>
        <p:nvGrpSpPr>
          <p:cNvPr id="3" name="Group 2">
            <a:extLst>
              <a:ext uri="{FF2B5EF4-FFF2-40B4-BE49-F238E27FC236}">
                <a16:creationId xmlns:a16="http://schemas.microsoft.com/office/drawing/2014/main" id="{E1265767-5B48-16E5-9CBD-555C9880849F}"/>
              </a:ext>
            </a:extLst>
          </p:cNvPr>
          <p:cNvGrpSpPr/>
          <p:nvPr/>
        </p:nvGrpSpPr>
        <p:grpSpPr>
          <a:xfrm>
            <a:off x="1162857" y="3729695"/>
            <a:ext cx="451681" cy="718267"/>
            <a:chOff x="1162857" y="3729695"/>
            <a:chExt cx="451681" cy="718267"/>
          </a:xfrm>
        </p:grpSpPr>
        <p:grpSp>
          <p:nvGrpSpPr>
            <p:cNvPr id="6" name="Group 330">
              <a:extLst>
                <a:ext uri="{FF2B5EF4-FFF2-40B4-BE49-F238E27FC236}">
                  <a16:creationId xmlns:a16="http://schemas.microsoft.com/office/drawing/2014/main" id="{BD0600CF-E7C9-D222-B145-327A986823DF}"/>
                </a:ext>
              </a:extLst>
            </p:cNvPr>
            <p:cNvGrpSpPr>
              <a:grpSpLocks noChangeAspect="1"/>
            </p:cNvGrpSpPr>
            <p:nvPr/>
          </p:nvGrpSpPr>
          <p:grpSpPr>
            <a:xfrm>
              <a:off x="1162857" y="3729695"/>
              <a:ext cx="451681" cy="432280"/>
              <a:chOff x="4156082" y="-3084742"/>
              <a:chExt cx="2282892" cy="2204395"/>
            </a:xfrm>
          </p:grpSpPr>
          <p:sp>
            <p:nvSpPr>
              <p:cNvPr id="8" name="Freeform: Shape 328">
                <a:extLst>
                  <a:ext uri="{FF2B5EF4-FFF2-40B4-BE49-F238E27FC236}">
                    <a16:creationId xmlns:a16="http://schemas.microsoft.com/office/drawing/2014/main" id="{57A42D24-F2F9-B5DC-D431-EA96640F8858}"/>
                  </a:ext>
                </a:extLst>
              </p:cNvPr>
              <p:cNvSpPr/>
              <p:nvPr/>
            </p:nvSpPr>
            <p:spPr>
              <a:xfrm>
                <a:off x="4288735" y="-3084742"/>
                <a:ext cx="2150239" cy="2143890"/>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solidFill>
                <a:srgbClr val="339C91"/>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2000" b="1" dirty="0">
                    <a:solidFill>
                      <a:schemeClr val="bg1"/>
                    </a:solidFill>
                    <a:latin typeface="Verdana" panose="020B0604030504040204" pitchFamily="34" charset="0"/>
                    <a:ea typeface="Verdana" panose="020B0604030504040204" pitchFamily="34" charset="0"/>
                  </a:rPr>
                  <a:t>E</a:t>
                </a:r>
              </a:p>
            </p:txBody>
          </p:sp>
          <p:sp>
            <p:nvSpPr>
              <p:cNvPr id="9" name="Freeform: Shape 329">
                <a:extLst>
                  <a:ext uri="{FF2B5EF4-FFF2-40B4-BE49-F238E27FC236}">
                    <a16:creationId xmlns:a16="http://schemas.microsoft.com/office/drawing/2014/main" id="{8204618C-693E-E2E6-AF38-C5877FA06EEC}"/>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noFill/>
              <a:ln w="5213" cap="flat">
                <a:solidFill>
                  <a:schemeClr val="accent1">
                    <a:lumMod val="90000"/>
                    <a:lumOff val="10000"/>
                  </a:schemeClr>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1400" b="1">
                  <a:solidFill>
                    <a:schemeClr val="bg1"/>
                  </a:solidFill>
                  <a:latin typeface="Verdana" panose="020B0604030504040204" pitchFamily="34" charset="0"/>
                  <a:ea typeface="Verdana" panose="020B0604030504040204" pitchFamily="34" charset="0"/>
                </a:endParaRPr>
              </a:p>
            </p:txBody>
          </p:sp>
        </p:grpSp>
        <p:cxnSp>
          <p:nvCxnSpPr>
            <p:cNvPr id="7" name="Vinklet forbindelse 22">
              <a:extLst>
                <a:ext uri="{FF2B5EF4-FFF2-40B4-BE49-F238E27FC236}">
                  <a16:creationId xmlns:a16="http://schemas.microsoft.com/office/drawing/2014/main" id="{C9FB02BD-0767-6099-8E70-917B67495175}"/>
                </a:ext>
              </a:extLst>
            </p:cNvPr>
            <p:cNvCxnSpPr>
              <a:cxnSpLocks/>
            </p:cNvCxnSpPr>
            <p:nvPr/>
          </p:nvCxnSpPr>
          <p:spPr>
            <a:xfrm rot="16200000" flipH="1">
              <a:off x="1311285" y="4247829"/>
              <a:ext cx="269882" cy="130384"/>
            </a:xfrm>
            <a:prstGeom prst="bentConnector2">
              <a:avLst/>
            </a:prstGeom>
            <a:ln w="6350">
              <a:solidFill>
                <a:srgbClr val="339C91"/>
              </a:solidFill>
              <a:tailEnd type="oval"/>
            </a:ln>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EA56B6BF-A1F0-4E5C-F6C3-4D3753598609}"/>
              </a:ext>
            </a:extLst>
          </p:cNvPr>
          <p:cNvGrpSpPr/>
          <p:nvPr/>
        </p:nvGrpSpPr>
        <p:grpSpPr>
          <a:xfrm>
            <a:off x="2978942" y="2270229"/>
            <a:ext cx="432000" cy="693384"/>
            <a:chOff x="2978942" y="2270229"/>
            <a:chExt cx="432000" cy="693384"/>
          </a:xfrm>
        </p:grpSpPr>
        <p:grpSp>
          <p:nvGrpSpPr>
            <p:cNvPr id="11" name="Group 87">
              <a:extLst>
                <a:ext uri="{FF2B5EF4-FFF2-40B4-BE49-F238E27FC236}">
                  <a16:creationId xmlns:a16="http://schemas.microsoft.com/office/drawing/2014/main" id="{360DDAA5-C355-28B3-BC51-AB39B1522C42}"/>
                </a:ext>
              </a:extLst>
            </p:cNvPr>
            <p:cNvGrpSpPr>
              <a:grpSpLocks noChangeAspect="1"/>
            </p:cNvGrpSpPr>
            <p:nvPr/>
          </p:nvGrpSpPr>
          <p:grpSpPr>
            <a:xfrm>
              <a:off x="2978942" y="2270229"/>
              <a:ext cx="432000" cy="432000"/>
              <a:chOff x="6782390" y="-352756"/>
              <a:chExt cx="1035724" cy="1036180"/>
            </a:xfrm>
          </p:grpSpPr>
          <p:sp>
            <p:nvSpPr>
              <p:cNvPr id="13" name="Freeform: Shape 326">
                <a:extLst>
                  <a:ext uri="{FF2B5EF4-FFF2-40B4-BE49-F238E27FC236}">
                    <a16:creationId xmlns:a16="http://schemas.microsoft.com/office/drawing/2014/main" id="{8810B41B-6884-C459-BFD0-9D5E0C4EF801}"/>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EF3F5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DM Sans" pitchFamily="2" charset="0"/>
                  <a:ea typeface="Verdana" panose="020B0604030504040204" pitchFamily="34" charset="0"/>
                </a:endParaRPr>
              </a:p>
            </p:txBody>
          </p:sp>
          <p:sp>
            <p:nvSpPr>
              <p:cNvPr id="14" name="Freeform: Shape 327">
                <a:extLst>
                  <a:ext uri="{FF2B5EF4-FFF2-40B4-BE49-F238E27FC236}">
                    <a16:creationId xmlns:a16="http://schemas.microsoft.com/office/drawing/2014/main" id="{1EE17DEF-4C8D-BAD3-28C5-F8B73E06BAAF}"/>
                  </a:ext>
                </a:extLst>
              </p:cNvPr>
              <p:cNvSpPr/>
              <p:nvPr/>
            </p:nvSpPr>
            <p:spPr>
              <a:xfrm>
                <a:off x="6825367" y="-352756"/>
                <a:ext cx="992747" cy="985735"/>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F79FA7"/>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2000" b="1">
                    <a:solidFill>
                      <a:schemeClr val="bg1"/>
                    </a:solidFill>
                    <a:latin typeface="DM Sans" pitchFamily="2" charset="0"/>
                    <a:ea typeface="Verdana" panose="020B0604030504040204" pitchFamily="34" charset="0"/>
                  </a:rPr>
                  <a:t>S</a:t>
                </a:r>
              </a:p>
            </p:txBody>
          </p:sp>
        </p:grpSp>
        <p:cxnSp>
          <p:nvCxnSpPr>
            <p:cNvPr id="12" name="Vinklet forbindelse 33">
              <a:extLst>
                <a:ext uri="{FF2B5EF4-FFF2-40B4-BE49-F238E27FC236}">
                  <a16:creationId xmlns:a16="http://schemas.microsoft.com/office/drawing/2014/main" id="{D8A34522-20A8-7C08-8342-BCC432E5F427}"/>
                </a:ext>
              </a:extLst>
            </p:cNvPr>
            <p:cNvCxnSpPr>
              <a:cxnSpLocks/>
            </p:cNvCxnSpPr>
            <p:nvPr/>
          </p:nvCxnSpPr>
          <p:spPr>
            <a:xfrm rot="16200000" flipH="1">
              <a:off x="3134156" y="2763480"/>
              <a:ext cx="269882" cy="130384"/>
            </a:xfrm>
            <a:prstGeom prst="bentConnector2">
              <a:avLst/>
            </a:prstGeom>
            <a:ln w="6350">
              <a:solidFill>
                <a:srgbClr val="EF3F50"/>
              </a:solidFill>
              <a:tailEnd type="ova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0B14860E-5D62-CC28-3150-8E607D46BD6B}"/>
              </a:ext>
            </a:extLst>
          </p:cNvPr>
          <p:cNvGrpSpPr/>
          <p:nvPr/>
        </p:nvGrpSpPr>
        <p:grpSpPr>
          <a:xfrm>
            <a:off x="7096956" y="3277992"/>
            <a:ext cx="432000" cy="704938"/>
            <a:chOff x="7096956" y="3277992"/>
            <a:chExt cx="432000" cy="704938"/>
          </a:xfrm>
        </p:grpSpPr>
        <p:grpSp>
          <p:nvGrpSpPr>
            <p:cNvPr id="17" name="Group 88">
              <a:extLst>
                <a:ext uri="{FF2B5EF4-FFF2-40B4-BE49-F238E27FC236}">
                  <a16:creationId xmlns:a16="http://schemas.microsoft.com/office/drawing/2014/main" id="{247B76A1-8436-7F21-41D3-B1BF9D0AED25}"/>
                </a:ext>
              </a:extLst>
            </p:cNvPr>
            <p:cNvGrpSpPr>
              <a:grpSpLocks noChangeAspect="1"/>
            </p:cNvGrpSpPr>
            <p:nvPr/>
          </p:nvGrpSpPr>
          <p:grpSpPr>
            <a:xfrm>
              <a:off x="7096956" y="3277992"/>
              <a:ext cx="432000" cy="425874"/>
              <a:chOff x="8635379" y="-423505"/>
              <a:chExt cx="979431" cy="957169"/>
            </a:xfrm>
          </p:grpSpPr>
          <p:sp>
            <p:nvSpPr>
              <p:cNvPr id="19" name="Freeform: Shape 333">
                <a:extLst>
                  <a:ext uri="{FF2B5EF4-FFF2-40B4-BE49-F238E27FC236}">
                    <a16:creationId xmlns:a16="http://schemas.microsoft.com/office/drawing/2014/main" id="{CBE6A006-258B-37AD-7CBB-62D5926AEFA1}"/>
                  </a:ext>
                </a:extLst>
              </p:cNvPr>
              <p:cNvSpPr/>
              <p:nvPr/>
            </p:nvSpPr>
            <p:spPr>
              <a:xfrm>
                <a:off x="8635379" y="-423505"/>
                <a:ext cx="941280"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solidFill>
                <a:srgbClr val="51597F"/>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2000" b="1">
                    <a:solidFill>
                      <a:schemeClr val="bg1"/>
                    </a:solidFill>
                    <a:latin typeface="DM Sans" pitchFamily="2" charset="0"/>
                    <a:ea typeface="Verdana" panose="020B0604030504040204" pitchFamily="34" charset="0"/>
                  </a:rPr>
                  <a:t>G</a:t>
                </a:r>
              </a:p>
            </p:txBody>
          </p:sp>
          <p:sp>
            <p:nvSpPr>
              <p:cNvPr id="20" name="Freeform: Shape 334">
                <a:extLst>
                  <a:ext uri="{FF2B5EF4-FFF2-40B4-BE49-F238E27FC236}">
                    <a16:creationId xmlns:a16="http://schemas.microsoft.com/office/drawing/2014/main" id="{B0CADC0E-4636-7881-8BAA-15CD4B36C5F6}"/>
                  </a:ext>
                </a:extLst>
              </p:cNvPr>
              <p:cNvSpPr/>
              <p:nvPr/>
            </p:nvSpPr>
            <p:spPr>
              <a:xfrm rot="21410080">
                <a:off x="8673528" y="-389843"/>
                <a:ext cx="941282"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noFill/>
              <a:ln w="5213" cap="flat">
                <a:solidFill>
                  <a:srgbClr val="242E5E"/>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3360" b="1">
                  <a:solidFill>
                    <a:schemeClr val="bg1"/>
                  </a:solidFill>
                  <a:latin typeface="DM Sans" pitchFamily="2" charset="0"/>
                  <a:ea typeface="Verdana" panose="020B0604030504040204" pitchFamily="34" charset="0"/>
                </a:endParaRPr>
              </a:p>
            </p:txBody>
          </p:sp>
        </p:grpSp>
        <p:cxnSp>
          <p:nvCxnSpPr>
            <p:cNvPr id="18" name="Vinklet forbindelse 34">
              <a:extLst>
                <a:ext uri="{FF2B5EF4-FFF2-40B4-BE49-F238E27FC236}">
                  <a16:creationId xmlns:a16="http://schemas.microsoft.com/office/drawing/2014/main" id="{B55DC8E0-5CF6-5C36-4B26-38DD5A55FE95}"/>
                </a:ext>
              </a:extLst>
            </p:cNvPr>
            <p:cNvCxnSpPr>
              <a:cxnSpLocks/>
            </p:cNvCxnSpPr>
            <p:nvPr/>
          </p:nvCxnSpPr>
          <p:spPr>
            <a:xfrm rot="16200000" flipH="1">
              <a:off x="7234793" y="3782797"/>
              <a:ext cx="269882" cy="130384"/>
            </a:xfrm>
            <a:prstGeom prst="bentConnector2">
              <a:avLst/>
            </a:prstGeom>
            <a:ln w="6350">
              <a:solidFill>
                <a:srgbClr val="242E5E"/>
              </a:solidFill>
              <a:tailEnd type="oval"/>
            </a:ln>
          </p:spPr>
          <p:style>
            <a:lnRef idx="2">
              <a:schemeClr val="accent1"/>
            </a:lnRef>
            <a:fillRef idx="0">
              <a:schemeClr val="accent1"/>
            </a:fillRef>
            <a:effectRef idx="1">
              <a:schemeClr val="accent1"/>
            </a:effectRef>
            <a:fontRef idx="minor">
              <a:schemeClr val="tx1"/>
            </a:fontRef>
          </p:style>
        </p:cxnSp>
      </p:grpSp>
      <p:sp>
        <p:nvSpPr>
          <p:cNvPr id="21" name="Flowchart: Alternate Process 20">
            <a:extLst>
              <a:ext uri="{FF2B5EF4-FFF2-40B4-BE49-F238E27FC236}">
                <a16:creationId xmlns:a16="http://schemas.microsoft.com/office/drawing/2014/main" id="{223E2386-D997-F17E-2E04-DFAC8F34DB23}"/>
              </a:ext>
            </a:extLst>
          </p:cNvPr>
          <p:cNvSpPr/>
          <p:nvPr/>
        </p:nvSpPr>
        <p:spPr>
          <a:xfrm>
            <a:off x="1581526" y="4308682"/>
            <a:ext cx="3024021" cy="806482"/>
          </a:xfrm>
          <a:prstGeom prst="flowChartAlternateProcess">
            <a:avLst/>
          </a:prstGeom>
          <a:noFill/>
          <a:ln w="12700">
            <a:noFill/>
            <a:prstDash val="solid"/>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r>
              <a:rPr lang="da-DK" sz="1100" b="1" dirty="0">
                <a:latin typeface="DM Sans" pitchFamily="2" charset="77"/>
              </a:rPr>
              <a:t>[Beskrivelse af resultat]</a:t>
            </a:r>
            <a:endParaRPr lang="da-DK" sz="1100" dirty="0">
              <a:latin typeface="DM Sans" pitchFamily="2" charset="77"/>
            </a:endParaRPr>
          </a:p>
        </p:txBody>
      </p:sp>
      <p:sp>
        <p:nvSpPr>
          <p:cNvPr id="22" name="Flowchart: Alternate Process 21">
            <a:extLst>
              <a:ext uri="{FF2B5EF4-FFF2-40B4-BE49-F238E27FC236}">
                <a16:creationId xmlns:a16="http://schemas.microsoft.com/office/drawing/2014/main" id="{86C3694B-2359-1AB7-DF7C-2FED8582BAA6}"/>
              </a:ext>
            </a:extLst>
          </p:cNvPr>
          <p:cNvSpPr/>
          <p:nvPr/>
        </p:nvSpPr>
        <p:spPr>
          <a:xfrm>
            <a:off x="3391989" y="2827355"/>
            <a:ext cx="3245504" cy="836171"/>
          </a:xfrm>
          <a:prstGeom prst="flowChartAlternateProcess">
            <a:avLst/>
          </a:prstGeom>
          <a:noFill/>
          <a:ln w="12700">
            <a:noFill/>
            <a:prstDash val="solid"/>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r>
              <a:rPr lang="da-DK" sz="1100" b="1" dirty="0">
                <a:latin typeface="DM Sans" pitchFamily="2" charset="77"/>
              </a:rPr>
              <a:t>[Beskrivelse af resultat]</a:t>
            </a:r>
            <a:endParaRPr lang="da-DK" sz="1100" dirty="0">
              <a:latin typeface="DM Sans" pitchFamily="2" charset="77"/>
            </a:endParaRPr>
          </a:p>
        </p:txBody>
      </p:sp>
      <p:sp>
        <p:nvSpPr>
          <p:cNvPr id="23" name="Flowchart: Alternate Process 22">
            <a:extLst>
              <a:ext uri="{FF2B5EF4-FFF2-40B4-BE49-F238E27FC236}">
                <a16:creationId xmlns:a16="http://schemas.microsoft.com/office/drawing/2014/main" id="{C2FE3C0E-2232-48CA-FE21-1E8260F1B752}"/>
              </a:ext>
            </a:extLst>
          </p:cNvPr>
          <p:cNvSpPr/>
          <p:nvPr/>
        </p:nvSpPr>
        <p:spPr>
          <a:xfrm>
            <a:off x="7501118" y="3854658"/>
            <a:ext cx="3309848" cy="1059351"/>
          </a:xfrm>
          <a:prstGeom prst="flowChartAlternateProcess">
            <a:avLst/>
          </a:prstGeom>
          <a:noFill/>
          <a:ln w="12700">
            <a:noFill/>
            <a:prstDash val="solid"/>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r>
              <a:rPr lang="da-DK" sz="1100" b="1" dirty="0">
                <a:latin typeface="DM Sans" pitchFamily="2" charset="77"/>
              </a:rPr>
              <a:t>[Beskrivelse af resultat]</a:t>
            </a:r>
            <a:endParaRPr lang="da-DK" sz="1100" dirty="0">
              <a:latin typeface="DM Sans" pitchFamily="2" charset="77"/>
            </a:endParaRPr>
          </a:p>
        </p:txBody>
      </p:sp>
      <p:sp>
        <p:nvSpPr>
          <p:cNvPr id="24" name="Rektangel 35">
            <a:extLst>
              <a:ext uri="{FF2B5EF4-FFF2-40B4-BE49-F238E27FC236}">
                <a16:creationId xmlns:a16="http://schemas.microsoft.com/office/drawing/2014/main" id="{7E268F9C-4FFD-4A73-7E70-E36A0471C82B}"/>
              </a:ext>
            </a:extLst>
          </p:cNvPr>
          <p:cNvSpPr/>
          <p:nvPr/>
        </p:nvSpPr>
        <p:spPr>
          <a:xfrm>
            <a:off x="968005" y="3194840"/>
            <a:ext cx="10054593" cy="2358468"/>
          </a:xfrm>
          <a:prstGeom prst="rect">
            <a:avLst/>
          </a:prstGeom>
          <a:solidFill>
            <a:srgbClr val="97A2BD">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da-DK" sz="1400" b="1">
              <a:solidFill>
                <a:srgbClr val="97A2BD"/>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4202333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B5CEBD">
            <a:alpha val="40000"/>
          </a:srgbClr>
        </a:solidFill>
        <a:effectLst/>
      </p:bgPr>
    </p:bg>
    <p:spTree>
      <p:nvGrpSpPr>
        <p:cNvPr id="1" name="">
          <a:extLst>
            <a:ext uri="{FF2B5EF4-FFF2-40B4-BE49-F238E27FC236}">
              <a16:creationId xmlns:a16="http://schemas.microsoft.com/office/drawing/2014/main" id="{D2077A91-A2F1-5706-B7B4-1662E8824AB2}"/>
            </a:ext>
          </a:extLst>
        </p:cNvPr>
        <p:cNvGrpSpPr/>
        <p:nvPr/>
      </p:nvGrpSpPr>
      <p:grpSpPr>
        <a:xfrm>
          <a:off x="0" y="0"/>
          <a:ext cx="0" cy="0"/>
          <a:chOff x="0" y="0"/>
          <a:chExt cx="0" cy="0"/>
        </a:xfrm>
      </p:grpSpPr>
      <p:sp>
        <p:nvSpPr>
          <p:cNvPr id="13" name="Kombinationstegning 12">
            <a:extLst>
              <a:ext uri="{FF2B5EF4-FFF2-40B4-BE49-F238E27FC236}">
                <a16:creationId xmlns:a16="http://schemas.microsoft.com/office/drawing/2014/main" id="{885B105A-6C4D-A32B-F854-EAEF7A79A295}"/>
              </a:ext>
            </a:extLst>
          </p:cNvPr>
          <p:cNvSpPr/>
          <p:nvPr/>
        </p:nvSpPr>
        <p:spPr>
          <a:xfrm>
            <a:off x="7994202" y="449184"/>
            <a:ext cx="4340117" cy="6560080"/>
          </a:xfrm>
          <a:custGeom>
            <a:avLst/>
            <a:gdLst>
              <a:gd name="connsiteX0" fmla="*/ 4578115 w 4704240"/>
              <a:gd name="connsiteY0" fmla="*/ 65824 h 6560080"/>
              <a:gd name="connsiteX1" fmla="*/ 3905453 w 4704240"/>
              <a:gd name="connsiteY1" fmla="*/ 76334 h 6560080"/>
              <a:gd name="connsiteX2" fmla="*/ 2864929 w 4704240"/>
              <a:gd name="connsiteY2" fmla="*/ 833079 h 6560080"/>
              <a:gd name="connsiteX3" fmla="*/ 2328902 w 4704240"/>
              <a:gd name="connsiteY3" fmla="*/ 2136361 h 6560080"/>
              <a:gd name="connsiteX4" fmla="*/ 1130722 w 4704240"/>
              <a:gd name="connsiteY4" fmla="*/ 3376582 h 6560080"/>
              <a:gd name="connsiteX5" fmla="*/ 48157 w 4704240"/>
              <a:gd name="connsiteY5" fmla="*/ 4059755 h 6560080"/>
              <a:gd name="connsiteX6" fmla="*/ 258364 w 4704240"/>
              <a:gd name="connsiteY6" fmla="*/ 5373548 h 6560080"/>
              <a:gd name="connsiteX7" fmla="*/ 878474 w 4704240"/>
              <a:gd name="connsiteY7" fmla="*/ 6119782 h 6560080"/>
              <a:gd name="connsiteX8" fmla="*/ 2402474 w 4704240"/>
              <a:gd name="connsiteY8" fmla="*/ 6529686 h 6560080"/>
              <a:gd name="connsiteX9" fmla="*/ 4704240 w 4704240"/>
              <a:gd name="connsiteY9" fmla="*/ 6498155 h 656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4240" h="6560080">
                <a:moveTo>
                  <a:pt x="4578115" y="65824"/>
                </a:moveTo>
                <a:cubicBezTo>
                  <a:pt x="4384549" y="7141"/>
                  <a:pt x="4190984" y="-51542"/>
                  <a:pt x="3905453" y="76334"/>
                </a:cubicBezTo>
                <a:cubicBezTo>
                  <a:pt x="3619922" y="204210"/>
                  <a:pt x="3127687" y="489741"/>
                  <a:pt x="2864929" y="833079"/>
                </a:cubicBezTo>
                <a:cubicBezTo>
                  <a:pt x="2602171" y="1176417"/>
                  <a:pt x="2617936" y="1712444"/>
                  <a:pt x="2328902" y="2136361"/>
                </a:cubicBezTo>
                <a:cubicBezTo>
                  <a:pt x="2039868" y="2560278"/>
                  <a:pt x="1510846" y="3056016"/>
                  <a:pt x="1130722" y="3376582"/>
                </a:cubicBezTo>
                <a:cubicBezTo>
                  <a:pt x="750598" y="3697148"/>
                  <a:pt x="193550" y="3726927"/>
                  <a:pt x="48157" y="4059755"/>
                </a:cubicBezTo>
                <a:cubicBezTo>
                  <a:pt x="-97236" y="4392583"/>
                  <a:pt x="119978" y="5030210"/>
                  <a:pt x="258364" y="5373548"/>
                </a:cubicBezTo>
                <a:cubicBezTo>
                  <a:pt x="396750" y="5716886"/>
                  <a:pt x="521122" y="5927092"/>
                  <a:pt x="878474" y="6119782"/>
                </a:cubicBezTo>
                <a:cubicBezTo>
                  <a:pt x="1235826" y="6312472"/>
                  <a:pt x="1764846" y="6466624"/>
                  <a:pt x="2402474" y="6529686"/>
                </a:cubicBezTo>
                <a:cubicBezTo>
                  <a:pt x="3040102" y="6592748"/>
                  <a:pt x="3872171" y="6545451"/>
                  <a:pt x="4704240" y="6498155"/>
                </a:cubicBezTo>
              </a:path>
            </a:pathLst>
          </a:custGeom>
          <a:solidFill>
            <a:srgbClr val="B5CEB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Pladsholder til slidenummer 4">
            <a:extLst>
              <a:ext uri="{FF2B5EF4-FFF2-40B4-BE49-F238E27FC236}">
                <a16:creationId xmlns:a16="http://schemas.microsoft.com/office/drawing/2014/main" id="{9809FC4D-F4DA-A790-5B63-5553FBB086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pic>
        <p:nvPicPr>
          <p:cNvPr id="9" name="Billede 8" descr="Et billede, der indeholder tekst, Font/skrifttype, design&#10;&#10;Indhold genereret af kunstig intelligens kan være forkert.">
            <a:extLst>
              <a:ext uri="{FF2B5EF4-FFF2-40B4-BE49-F238E27FC236}">
                <a16:creationId xmlns:a16="http://schemas.microsoft.com/office/drawing/2014/main" id="{863361CB-FDB2-6B41-0C4F-30AB992917FE}"/>
              </a:ext>
            </a:extLst>
          </p:cNvPr>
          <p:cNvPicPr>
            <a:picLocks noChangeAspect="1"/>
          </p:cNvPicPr>
          <p:nvPr/>
        </p:nvPicPr>
        <p:blipFill>
          <a:blip r:embed="rId3"/>
          <a:stretch>
            <a:fillRect/>
          </a:stretch>
        </p:blipFill>
        <p:spPr>
          <a:xfrm>
            <a:off x="8462854" y="2395417"/>
            <a:ext cx="3937000" cy="4457700"/>
          </a:xfrm>
          <a:prstGeom prst="rect">
            <a:avLst/>
          </a:prstGeom>
        </p:spPr>
      </p:pic>
      <p:sp>
        <p:nvSpPr>
          <p:cNvPr id="14" name="Tekstfelt 13">
            <a:extLst>
              <a:ext uri="{FF2B5EF4-FFF2-40B4-BE49-F238E27FC236}">
                <a16:creationId xmlns:a16="http://schemas.microsoft.com/office/drawing/2014/main" id="{2BB66E0B-07EA-F37E-B457-075155A1A1E8}"/>
              </a:ext>
            </a:extLst>
          </p:cNvPr>
          <p:cNvSpPr txBox="1"/>
          <p:nvPr/>
        </p:nvSpPr>
        <p:spPr>
          <a:xfrm>
            <a:off x="9952955" y="4072283"/>
            <a:ext cx="1579278"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4000" b="1" u="none" strike="noStrike" kern="1200" cap="none" spc="0" normalizeH="0" baseline="0" noProof="0">
                <a:ln>
                  <a:noFill/>
                </a:ln>
                <a:solidFill>
                  <a:srgbClr val="005850"/>
                </a:solidFill>
                <a:effectLst/>
                <a:uLnTx/>
                <a:uFillTx/>
                <a:latin typeface="Verdana" panose="020B0604030504040204" pitchFamily="34" charset="0"/>
                <a:ea typeface="Verdana" panose="020B0604030504040204" pitchFamily="34" charset="0"/>
              </a:rPr>
              <a:t>Miljø</a:t>
            </a:r>
          </a:p>
        </p:txBody>
      </p:sp>
      <p:grpSp>
        <p:nvGrpSpPr>
          <p:cNvPr id="11" name="Group 330">
            <a:extLst>
              <a:ext uri="{FF2B5EF4-FFF2-40B4-BE49-F238E27FC236}">
                <a16:creationId xmlns:a16="http://schemas.microsoft.com/office/drawing/2014/main" id="{96405ADD-2AD9-A1C7-E522-2F77B052799D}"/>
              </a:ext>
            </a:extLst>
          </p:cNvPr>
          <p:cNvGrpSpPr/>
          <p:nvPr/>
        </p:nvGrpSpPr>
        <p:grpSpPr>
          <a:xfrm>
            <a:off x="8835656" y="3841009"/>
            <a:ext cx="1117298" cy="1116000"/>
            <a:chOff x="4156082" y="-3024236"/>
            <a:chExt cx="2183420" cy="2200431"/>
          </a:xfrm>
        </p:grpSpPr>
        <p:sp>
          <p:nvSpPr>
            <p:cNvPr id="19" name="Freeform: Shape 328">
              <a:extLst>
                <a:ext uri="{FF2B5EF4-FFF2-40B4-BE49-F238E27FC236}">
                  <a16:creationId xmlns:a16="http://schemas.microsoft.com/office/drawing/2014/main" id="{1EE0C9CA-7DFF-62AD-68FF-08665DE1ED28}"/>
                </a:ext>
              </a:extLst>
            </p:cNvPr>
            <p:cNvSpPr/>
            <p:nvPr/>
          </p:nvSpPr>
          <p:spPr>
            <a:xfrm>
              <a:off x="4189262" y="-2967694"/>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solidFill>
              <a:srgbClr val="339C91"/>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200" b="1">
                  <a:solidFill>
                    <a:schemeClr val="bg1"/>
                  </a:solidFill>
                  <a:latin typeface="Verdana" panose="020B0604030504040204" pitchFamily="34" charset="0"/>
                  <a:ea typeface="Verdana" panose="020B0604030504040204" pitchFamily="34" charset="0"/>
                </a:rPr>
                <a:t>E</a:t>
              </a:r>
            </a:p>
          </p:txBody>
        </p:sp>
        <p:sp>
          <p:nvSpPr>
            <p:cNvPr id="20" name="Freeform: Shape 329">
              <a:extLst>
                <a:ext uri="{FF2B5EF4-FFF2-40B4-BE49-F238E27FC236}">
                  <a16:creationId xmlns:a16="http://schemas.microsoft.com/office/drawing/2014/main" id="{861EEB19-CEC8-18B0-86DC-EB25ED6C8C02}"/>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noFill/>
            <a:ln w="5213" cap="flat">
              <a:solidFill>
                <a:schemeClr val="accent1">
                  <a:lumMod val="90000"/>
                  <a:lumOff val="10000"/>
                </a:schemeClr>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000" b="1">
                <a:solidFill>
                  <a:schemeClr val="bg1"/>
                </a:solidFill>
                <a:latin typeface="Verdana" panose="020B0604030504040204" pitchFamily="34" charset="0"/>
                <a:ea typeface="Verdana" panose="020B0604030504040204" pitchFamily="34" charset="0"/>
              </a:endParaRPr>
            </a:p>
          </p:txBody>
        </p:sp>
      </p:grpSp>
      <p:sp>
        <p:nvSpPr>
          <p:cNvPr id="2" name="Tekstfelt 6">
            <a:extLst>
              <a:ext uri="{FF2B5EF4-FFF2-40B4-BE49-F238E27FC236}">
                <a16:creationId xmlns:a16="http://schemas.microsoft.com/office/drawing/2014/main" id="{29A18AEF-4612-63CB-9858-752CABF2D558}"/>
              </a:ext>
            </a:extLst>
          </p:cNvPr>
          <p:cNvSpPr txBox="1"/>
          <p:nvPr/>
        </p:nvSpPr>
        <p:spPr>
          <a:xfrm>
            <a:off x="630198" y="852181"/>
            <a:ext cx="9322756" cy="2762936"/>
          </a:xfrm>
          <a:prstGeom prst="rect">
            <a:avLst/>
          </a:prstGeom>
          <a:noFill/>
        </p:spPr>
        <p:txBody>
          <a:bodyPr wrap="square" lIns="91440" tIns="45720" rIns="91440" bIns="45720" anchor="t">
            <a:spAutoFit/>
          </a:bodyPr>
          <a:lstStyle/>
          <a:p>
            <a:pPr>
              <a:lnSpc>
                <a:spcPct val="107000"/>
              </a:lnSpc>
              <a:spcAft>
                <a:spcPts val="800"/>
              </a:spcAft>
              <a:defRPr/>
            </a:pPr>
            <a:r>
              <a:rPr kumimoji="0" lang="da-DK" sz="1100" u="none" strike="noStrike" kern="1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a:rPr>
              <a:t>Miljøet udgør en afgørende dimension i den danske almene boligsektor, da denne sektor drifter og administrerer en stor del af landets bygningsmasse og boliger, hvilket betyder, at dens aktiviteter har en betydelig samlet påvirkning på klima og miljø. Som en central aktør i samfundet har den almene boligsektor derfor et særligt ansvar for at bidrage til den grønne omstilling ved at sikre, at driften, renoveringen og udviklingen af boligområder sker på en bæredygtig måde, der minimerer dens miljøaftryk.  </a:t>
            </a:r>
            <a:br>
              <a:rPr lang="da-DK" sz="1100" u="none" strike="noStrike" kern="100" cap="none" spc="0" normalizeH="0" baseline="0" noProof="0" dirty="0">
                <a:ln>
                  <a:noFill/>
                </a:ln>
                <a:effectLst/>
                <a:uLnTx/>
                <a:uFillTx/>
                <a:latin typeface="Verdana" panose="020B0604030504040204" pitchFamily="34" charset="0"/>
                <a:ea typeface="Verdana" panose="020B0604030504040204" pitchFamily="34" charset="0"/>
                <a:cs typeface="Arial" panose="020B0604020202020204" pitchFamily="34" charset="0"/>
              </a:rPr>
            </a:br>
            <a:br>
              <a:rPr lang="da-DK" sz="1100" u="none" strike="noStrike" kern="100" cap="none" spc="0" normalizeH="0" baseline="0" noProof="0" dirty="0">
                <a:ln>
                  <a:noFill/>
                </a:ln>
                <a:effectLst/>
                <a:uLnTx/>
                <a:uFillTx/>
                <a:latin typeface="Verdana" panose="020B0604030504040204" pitchFamily="34" charset="0"/>
                <a:ea typeface="Verdana" panose="020B0604030504040204" pitchFamily="34" charset="0"/>
                <a:cs typeface="Arial" panose="020B0604020202020204" pitchFamily="34" charset="0"/>
              </a:rPr>
            </a:br>
            <a:r>
              <a:rPr kumimoji="0"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Her kan I beskrive jeres tilgang </a:t>
            </a: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og systematik i forhold til</a:t>
            </a:r>
            <a:r>
              <a:rPr kumimoji="0"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arbejdet med E. </a:t>
            </a:r>
            <a:endParaRPr lang="en-US" dirty="0">
              <a:solidFill>
                <a:schemeClr val="bg1">
                  <a:lumMod val="50000"/>
                </a:schemeClr>
              </a:solidFill>
              <a:latin typeface="Verdana" panose="020B0604030504040204" pitchFamily="34" charset="0"/>
              <a:ea typeface="Verdana" panose="020B0604030504040204" pitchFamily="34" charset="0"/>
            </a:endParaRPr>
          </a:p>
          <a:p>
            <a:pPr>
              <a:lnSpc>
                <a:spcPct val="107000"/>
              </a:lnSpc>
              <a:spcAft>
                <a:spcPts val="800"/>
              </a:spcAft>
              <a:defRPr/>
            </a:pP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I</a:t>
            </a:r>
            <a:r>
              <a:rPr kumimoji="0"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a:t>
            </a: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kan </a:t>
            </a:r>
            <a:r>
              <a:rPr kumimoji="0"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med fordel beskrive det nedenstående, hvilket er godt at inkludere, hvis ESG rapporten bruges i ledelsesberetningen i årsrapporten:</a:t>
            </a:r>
            <a:endParaRPr lang="da-DK" dirty="0">
              <a:solidFill>
                <a:schemeClr val="bg1">
                  <a:lumMod val="50000"/>
                </a:schemeClr>
              </a:solidFill>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rPr>
              <a:t>Hvilke politikker boligorganisationen fører indenfor miljø?</a:t>
            </a:r>
            <a:endParaRPr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rPr>
              <a:t>Hvordan er disse implementeret?</a:t>
            </a:r>
            <a:endParaRPr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Hvilke resultater er opnået – </a:t>
            </a:r>
            <a:r>
              <a:rPr kumimoji="0" lang="da-DK" sz="1100" i="1" u="none" strike="noStrike" kern="100" cap="none" spc="0" normalizeH="0" baseline="0" noProof="0" dirty="0" err="1">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ka</a:t>
            </a: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n også inkluderes på næste slide.</a:t>
            </a:r>
          </a:p>
          <a:p>
            <a:pPr marL="171450" indent="-171450">
              <a:lnSpc>
                <a:spcPct val="107000"/>
              </a:lnSpc>
              <a:spcAft>
                <a:spcPts val="800"/>
              </a:spcAft>
              <a:buFont typeface="Arial" panose="020B0604020202020204" pitchFamily="34" charset="0"/>
              <a:buChar char="•"/>
              <a:defRPr/>
            </a:pP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Hvilke</a:t>
            </a:r>
            <a:r>
              <a:rPr kumimoji="0"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risici </a:t>
            </a: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har</a:t>
            </a:r>
            <a:r>
              <a:rPr kumimoji="0"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a:t>
            </a: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I identificeret?</a:t>
            </a:r>
            <a:endParaRPr lang="da-DK" sz="1100" i="1" u="none" strike="noStrike" kern="1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Arial"/>
            </a:endParaRPr>
          </a:p>
        </p:txBody>
      </p:sp>
      <p:sp>
        <p:nvSpPr>
          <p:cNvPr id="3" name="Freeform: Shape 23">
            <a:extLst>
              <a:ext uri="{FF2B5EF4-FFF2-40B4-BE49-F238E27FC236}">
                <a16:creationId xmlns:a16="http://schemas.microsoft.com/office/drawing/2014/main" id="{6D651CE7-8BDB-337D-7202-BAF93A5E8CBE}"/>
              </a:ext>
            </a:extLst>
          </p:cNvPr>
          <p:cNvSpPr/>
          <p:nvPr/>
        </p:nvSpPr>
        <p:spPr>
          <a:xfrm>
            <a:off x="486292" y="712886"/>
            <a:ext cx="3240000" cy="1348309"/>
          </a:xfrm>
          <a:custGeom>
            <a:avLst/>
            <a:gdLst>
              <a:gd name="connsiteX0" fmla="*/ 405429 w 6457064"/>
              <a:gd name="connsiteY0" fmla="*/ 121 h 3268876"/>
              <a:gd name="connsiteX1" fmla="*/ 565759 w 6457064"/>
              <a:gd name="connsiteY1" fmla="*/ 3595 h 3268876"/>
              <a:gd name="connsiteX2" fmla="*/ 6457064 w 6457064"/>
              <a:gd name="connsiteY2" fmla="*/ 3595 h 3268876"/>
              <a:gd name="connsiteX3" fmla="*/ 2142273 w 6457064"/>
              <a:gd name="connsiteY3" fmla="*/ 3268876 h 3268876"/>
              <a:gd name="connsiteX4" fmla="*/ 0 w 6457064"/>
              <a:gd name="connsiteY4" fmla="*/ 3268876 h 3268876"/>
              <a:gd name="connsiteX5" fmla="*/ 0 w 6457064"/>
              <a:gd name="connsiteY5" fmla="*/ 540587 h 3268876"/>
              <a:gd name="connsiteX6" fmla="*/ 75435 w 6457064"/>
              <a:gd name="connsiteY6" fmla="*/ 167026 h 3268876"/>
              <a:gd name="connsiteX7" fmla="*/ 405429 w 6457064"/>
              <a:gd name="connsiteY7" fmla="*/ 121 h 3268876"/>
              <a:gd name="connsiteX0" fmla="*/ 2142273 w 6548504"/>
              <a:gd name="connsiteY0" fmla="*/ 3268876 h 3268876"/>
              <a:gd name="connsiteX1" fmla="*/ 0 w 6548504"/>
              <a:gd name="connsiteY1" fmla="*/ 3268876 h 3268876"/>
              <a:gd name="connsiteX2" fmla="*/ 0 w 6548504"/>
              <a:gd name="connsiteY2" fmla="*/ 540587 h 3268876"/>
              <a:gd name="connsiteX3" fmla="*/ 75435 w 6548504"/>
              <a:gd name="connsiteY3" fmla="*/ 167026 h 3268876"/>
              <a:gd name="connsiteX4" fmla="*/ 405429 w 6548504"/>
              <a:gd name="connsiteY4" fmla="*/ 121 h 3268876"/>
              <a:gd name="connsiteX5" fmla="*/ 565759 w 6548504"/>
              <a:gd name="connsiteY5" fmla="*/ 3595 h 3268876"/>
              <a:gd name="connsiteX6" fmla="*/ 6548504 w 6548504"/>
              <a:gd name="connsiteY6" fmla="*/ 95035 h 3268876"/>
              <a:gd name="connsiteX0" fmla="*/ 2142273 w 6459604"/>
              <a:gd name="connsiteY0" fmla="*/ 3288141 h 3288141"/>
              <a:gd name="connsiteX1" fmla="*/ 0 w 6459604"/>
              <a:gd name="connsiteY1" fmla="*/ 3288141 h 3288141"/>
              <a:gd name="connsiteX2" fmla="*/ 0 w 6459604"/>
              <a:gd name="connsiteY2" fmla="*/ 559852 h 3288141"/>
              <a:gd name="connsiteX3" fmla="*/ 75435 w 6459604"/>
              <a:gd name="connsiteY3" fmla="*/ 186291 h 3288141"/>
              <a:gd name="connsiteX4" fmla="*/ 405429 w 6459604"/>
              <a:gd name="connsiteY4" fmla="*/ 19386 h 3288141"/>
              <a:gd name="connsiteX5" fmla="*/ 565759 w 6459604"/>
              <a:gd name="connsiteY5" fmla="*/ 22860 h 3288141"/>
              <a:gd name="connsiteX6" fmla="*/ 6459604 w 6459604"/>
              <a:gd name="connsiteY6" fmla="*/ 0 h 3288141"/>
              <a:gd name="connsiteX0" fmla="*/ 0 w 6459604"/>
              <a:gd name="connsiteY0" fmla="*/ 3288141 h 3288141"/>
              <a:gd name="connsiteX1" fmla="*/ 0 w 6459604"/>
              <a:gd name="connsiteY1" fmla="*/ 559852 h 3288141"/>
              <a:gd name="connsiteX2" fmla="*/ 75435 w 6459604"/>
              <a:gd name="connsiteY2" fmla="*/ 186291 h 3288141"/>
              <a:gd name="connsiteX3" fmla="*/ 405429 w 6459604"/>
              <a:gd name="connsiteY3" fmla="*/ 19386 h 3288141"/>
              <a:gd name="connsiteX4" fmla="*/ 565759 w 6459604"/>
              <a:gd name="connsiteY4" fmla="*/ 22860 h 3288141"/>
              <a:gd name="connsiteX5" fmla="*/ 6459604 w 6459604"/>
              <a:gd name="connsiteY5" fmla="*/ 0 h 328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9604" h="3288141">
                <a:moveTo>
                  <a:pt x="0" y="3288141"/>
                </a:moveTo>
                <a:lnTo>
                  <a:pt x="0" y="559852"/>
                </a:lnTo>
                <a:cubicBezTo>
                  <a:pt x="25145" y="435332"/>
                  <a:pt x="-38994" y="568702"/>
                  <a:pt x="75435" y="186291"/>
                </a:cubicBezTo>
                <a:cubicBezTo>
                  <a:pt x="264389" y="37113"/>
                  <a:pt x="333213" y="17456"/>
                  <a:pt x="405429" y="19386"/>
                </a:cubicBezTo>
                <a:cubicBezTo>
                  <a:pt x="448758" y="20544"/>
                  <a:pt x="493308" y="29473"/>
                  <a:pt x="565759" y="22860"/>
                </a:cubicBezTo>
                <a:lnTo>
                  <a:pt x="6459604" y="0"/>
                </a:lnTo>
              </a:path>
            </a:pathLst>
          </a:custGeom>
          <a:noFill/>
          <a:ln w="12700" cap="rnd">
            <a:solidFill>
              <a:srgbClr val="005950"/>
            </a:solidFill>
            <a:prstDash val="solid"/>
            <a:round/>
            <a:headEnd type="none"/>
            <a:tailEnd type="none"/>
          </a:ln>
        </p:spPr>
        <p:txBody>
          <a:bodyPr wrap="square" rtlCol="0" anchor="ctr">
            <a:noAutofit/>
          </a:bodyPr>
          <a:lstStyle/>
          <a:p>
            <a:pPr defTabSz="914400"/>
            <a:endParaRPr lang="en-GB" sz="1801">
              <a:solidFill>
                <a:srgbClr val="000000"/>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9435969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34E75-C843-93E6-D478-89C0C5D2EACC}"/>
            </a:ext>
          </a:extLst>
        </p:cNvPr>
        <p:cNvGrpSpPr/>
        <p:nvPr/>
      </p:nvGrpSpPr>
      <p:grpSpPr>
        <a:xfrm>
          <a:off x="0" y="0"/>
          <a:ext cx="0" cy="0"/>
          <a:chOff x="0" y="0"/>
          <a:chExt cx="0" cy="0"/>
        </a:xfrm>
      </p:grpSpPr>
      <p:pic>
        <p:nvPicPr>
          <p:cNvPr id="36" name="Picture 35" descr="A green diamond with a white letter&#10;&#10;AI-generated content may be incorrect.">
            <a:extLst>
              <a:ext uri="{FF2B5EF4-FFF2-40B4-BE49-F238E27FC236}">
                <a16:creationId xmlns:a16="http://schemas.microsoft.com/office/drawing/2014/main" id="{4D8D6A7F-1398-8761-4DE0-2B241D372CA9}"/>
              </a:ext>
            </a:extLst>
          </p:cNvPr>
          <p:cNvPicPr>
            <a:picLocks noChangeAspect="1"/>
          </p:cNvPicPr>
          <p:nvPr/>
        </p:nvPicPr>
        <p:blipFill>
          <a:blip r:embed="rId3"/>
          <a:stretch>
            <a:fillRect/>
          </a:stretch>
        </p:blipFill>
        <p:spPr>
          <a:xfrm>
            <a:off x="11131028" y="125623"/>
            <a:ext cx="563786" cy="632987"/>
          </a:xfrm>
          <a:prstGeom prst="rect">
            <a:avLst/>
          </a:prstGeom>
        </p:spPr>
      </p:pic>
      <p:sp>
        <p:nvSpPr>
          <p:cNvPr id="32" name="Title 1">
            <a:extLst>
              <a:ext uri="{FF2B5EF4-FFF2-40B4-BE49-F238E27FC236}">
                <a16:creationId xmlns:a16="http://schemas.microsoft.com/office/drawing/2014/main" id="{929F0BB6-D92C-1AE8-EE6C-6AA308562E8F}"/>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Målsætninger for [målepunkt] og [målepunkt]</a:t>
            </a:r>
            <a:endParaRPr lang="da-DK" sz="4000" dirty="0">
              <a:solidFill>
                <a:srgbClr val="005850"/>
              </a:solidFill>
              <a:latin typeface="Verdana" panose="020B0604030504040204" pitchFamily="34" charset="0"/>
              <a:ea typeface="Verdana" panose="020B0604030504040204" pitchFamily="34" charset="0"/>
            </a:endParaRPr>
          </a:p>
        </p:txBody>
      </p:sp>
      <p:sp>
        <p:nvSpPr>
          <p:cNvPr id="2" name="Rectangle 1">
            <a:extLst>
              <a:ext uri="{FF2B5EF4-FFF2-40B4-BE49-F238E27FC236}">
                <a16:creationId xmlns:a16="http://schemas.microsoft.com/office/drawing/2014/main" id="{AF41FCA9-ECE6-E971-2C9B-3AAA3BD5098A}"/>
              </a:ext>
            </a:extLst>
          </p:cNvPr>
          <p:cNvSpPr/>
          <p:nvPr/>
        </p:nvSpPr>
        <p:spPr>
          <a:xfrm>
            <a:off x="1116010" y="1995908"/>
            <a:ext cx="5115998" cy="4362030"/>
          </a:xfrm>
          <a:prstGeom prst="rect">
            <a:avLst/>
          </a:prstGeom>
          <a:solidFill>
            <a:srgbClr val="B5CE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27" name="Rectangle: Rounded Corners 26">
            <a:extLst>
              <a:ext uri="{FF2B5EF4-FFF2-40B4-BE49-F238E27FC236}">
                <a16:creationId xmlns:a16="http://schemas.microsoft.com/office/drawing/2014/main" id="{B6E4D0C7-5360-73AD-1769-5ED364F60904}"/>
              </a:ext>
            </a:extLst>
          </p:cNvPr>
          <p:cNvSpPr/>
          <p:nvPr/>
        </p:nvSpPr>
        <p:spPr>
          <a:xfrm>
            <a:off x="985520" y="2313135"/>
            <a:ext cx="10623124" cy="1849941"/>
          </a:xfrm>
          <a:custGeom>
            <a:avLst/>
            <a:gdLst>
              <a:gd name="connsiteX0" fmla="*/ 0 w 10623124"/>
              <a:gd name="connsiteY0" fmla="*/ 0 h 1849941"/>
              <a:gd name="connsiteX1" fmla="*/ 0 w 10623124"/>
              <a:gd name="connsiteY1" fmla="*/ 0 h 1849941"/>
              <a:gd name="connsiteX2" fmla="*/ 770176 w 10623124"/>
              <a:gd name="connsiteY2" fmla="*/ 0 h 1849941"/>
              <a:gd name="connsiteX3" fmla="*/ 1327891 w 10623124"/>
              <a:gd name="connsiteY3" fmla="*/ 0 h 1849941"/>
              <a:gd name="connsiteX4" fmla="*/ 1991836 w 10623124"/>
              <a:gd name="connsiteY4" fmla="*/ 0 h 1849941"/>
              <a:gd name="connsiteX5" fmla="*/ 2443319 w 10623124"/>
              <a:gd name="connsiteY5" fmla="*/ 0 h 1849941"/>
              <a:gd name="connsiteX6" fmla="*/ 2894801 w 10623124"/>
              <a:gd name="connsiteY6" fmla="*/ 0 h 1849941"/>
              <a:gd name="connsiteX7" fmla="*/ 3240053 w 10623124"/>
              <a:gd name="connsiteY7" fmla="*/ 0 h 1849941"/>
              <a:gd name="connsiteX8" fmla="*/ 4010229 w 10623124"/>
              <a:gd name="connsiteY8" fmla="*/ 0 h 1849941"/>
              <a:gd name="connsiteX9" fmla="*/ 4886637 w 10623124"/>
              <a:gd name="connsiteY9" fmla="*/ 0 h 1849941"/>
              <a:gd name="connsiteX10" fmla="*/ 5231889 w 10623124"/>
              <a:gd name="connsiteY10" fmla="*/ 0 h 1849941"/>
              <a:gd name="connsiteX11" fmla="*/ 5895834 w 10623124"/>
              <a:gd name="connsiteY11" fmla="*/ 0 h 1849941"/>
              <a:gd name="connsiteX12" fmla="*/ 6241085 w 10623124"/>
              <a:gd name="connsiteY12" fmla="*/ 0 h 1849941"/>
              <a:gd name="connsiteX13" fmla="*/ 7011262 w 10623124"/>
              <a:gd name="connsiteY13" fmla="*/ 0 h 1849941"/>
              <a:gd name="connsiteX14" fmla="*/ 7356513 w 10623124"/>
              <a:gd name="connsiteY14" fmla="*/ 0 h 1849941"/>
              <a:gd name="connsiteX15" fmla="*/ 7807996 w 10623124"/>
              <a:gd name="connsiteY15" fmla="*/ 0 h 1849941"/>
              <a:gd name="connsiteX16" fmla="*/ 8578173 w 10623124"/>
              <a:gd name="connsiteY16" fmla="*/ 0 h 1849941"/>
              <a:gd name="connsiteX17" fmla="*/ 8923424 w 10623124"/>
              <a:gd name="connsiteY17" fmla="*/ 0 h 1849941"/>
              <a:gd name="connsiteX18" fmla="*/ 9481138 w 10623124"/>
              <a:gd name="connsiteY18" fmla="*/ 0 h 1849941"/>
              <a:gd name="connsiteX19" fmla="*/ 10038852 w 10623124"/>
              <a:gd name="connsiteY19" fmla="*/ 0 h 1849941"/>
              <a:gd name="connsiteX20" fmla="*/ 10623124 w 10623124"/>
              <a:gd name="connsiteY20" fmla="*/ 0 h 1849941"/>
              <a:gd name="connsiteX21" fmla="*/ 10623124 w 10623124"/>
              <a:gd name="connsiteY21" fmla="*/ 0 h 1849941"/>
              <a:gd name="connsiteX22" fmla="*/ 10623124 w 10623124"/>
              <a:gd name="connsiteY22" fmla="*/ 561149 h 1849941"/>
              <a:gd name="connsiteX23" fmla="*/ 10623124 w 10623124"/>
              <a:gd name="connsiteY23" fmla="*/ 1122298 h 1849941"/>
              <a:gd name="connsiteX24" fmla="*/ 10623124 w 10623124"/>
              <a:gd name="connsiteY24" fmla="*/ 1849941 h 1849941"/>
              <a:gd name="connsiteX25" fmla="*/ 10623124 w 10623124"/>
              <a:gd name="connsiteY25" fmla="*/ 1849941 h 1849941"/>
              <a:gd name="connsiteX26" fmla="*/ 9959179 w 10623124"/>
              <a:gd name="connsiteY26" fmla="*/ 1849941 h 1849941"/>
              <a:gd name="connsiteX27" fmla="*/ 9189002 w 10623124"/>
              <a:gd name="connsiteY27" fmla="*/ 1849941 h 1849941"/>
              <a:gd name="connsiteX28" fmla="*/ 8312595 w 10623124"/>
              <a:gd name="connsiteY28" fmla="*/ 1849941 h 1849941"/>
              <a:gd name="connsiteX29" fmla="*/ 7436187 w 10623124"/>
              <a:gd name="connsiteY29" fmla="*/ 1849941 h 1849941"/>
              <a:gd name="connsiteX30" fmla="*/ 6666010 w 10623124"/>
              <a:gd name="connsiteY30" fmla="*/ 1849941 h 1849941"/>
              <a:gd name="connsiteX31" fmla="*/ 5789603 w 10623124"/>
              <a:gd name="connsiteY31" fmla="*/ 1849941 h 1849941"/>
              <a:gd name="connsiteX32" fmla="*/ 5444351 w 10623124"/>
              <a:gd name="connsiteY32" fmla="*/ 1849941 h 1849941"/>
              <a:gd name="connsiteX33" fmla="*/ 4780406 w 10623124"/>
              <a:gd name="connsiteY33" fmla="*/ 1849941 h 1849941"/>
              <a:gd name="connsiteX34" fmla="*/ 4435154 w 10623124"/>
              <a:gd name="connsiteY34" fmla="*/ 1849941 h 1849941"/>
              <a:gd name="connsiteX35" fmla="*/ 3877440 w 10623124"/>
              <a:gd name="connsiteY35" fmla="*/ 1849941 h 1849941"/>
              <a:gd name="connsiteX36" fmla="*/ 3532189 w 10623124"/>
              <a:gd name="connsiteY36" fmla="*/ 1849941 h 1849941"/>
              <a:gd name="connsiteX37" fmla="*/ 2762012 w 10623124"/>
              <a:gd name="connsiteY37" fmla="*/ 1849941 h 1849941"/>
              <a:gd name="connsiteX38" fmla="*/ 2416761 w 10623124"/>
              <a:gd name="connsiteY38" fmla="*/ 1849941 h 1849941"/>
              <a:gd name="connsiteX39" fmla="*/ 2071509 w 10623124"/>
              <a:gd name="connsiteY39" fmla="*/ 1849941 h 1849941"/>
              <a:gd name="connsiteX40" fmla="*/ 1407564 w 10623124"/>
              <a:gd name="connsiteY40" fmla="*/ 1849941 h 1849941"/>
              <a:gd name="connsiteX41" fmla="*/ 1062312 w 10623124"/>
              <a:gd name="connsiteY41" fmla="*/ 1849941 h 1849941"/>
              <a:gd name="connsiteX42" fmla="*/ 0 w 10623124"/>
              <a:gd name="connsiteY42" fmla="*/ 1849941 h 1849941"/>
              <a:gd name="connsiteX43" fmla="*/ 0 w 10623124"/>
              <a:gd name="connsiteY43" fmla="*/ 1849941 h 1849941"/>
              <a:gd name="connsiteX44" fmla="*/ 0 w 10623124"/>
              <a:gd name="connsiteY44" fmla="*/ 1288792 h 1849941"/>
              <a:gd name="connsiteX45" fmla="*/ 0 w 10623124"/>
              <a:gd name="connsiteY45" fmla="*/ 727643 h 1849941"/>
              <a:gd name="connsiteX46" fmla="*/ 0 w 10623124"/>
              <a:gd name="connsiteY46" fmla="*/ 0 h 184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623124" h="1849941" fill="none" extrusionOk="0">
                <a:moveTo>
                  <a:pt x="0" y="0"/>
                </a:moveTo>
                <a:lnTo>
                  <a:pt x="0" y="0"/>
                </a:lnTo>
                <a:cubicBezTo>
                  <a:pt x="179565" y="-12364"/>
                  <a:pt x="564079" y="9309"/>
                  <a:pt x="770176" y="0"/>
                </a:cubicBezTo>
                <a:cubicBezTo>
                  <a:pt x="976273" y="-9309"/>
                  <a:pt x="1166553" y="5080"/>
                  <a:pt x="1327891" y="0"/>
                </a:cubicBezTo>
                <a:cubicBezTo>
                  <a:pt x="1489229" y="-5080"/>
                  <a:pt x="1711165" y="-13672"/>
                  <a:pt x="1991836" y="0"/>
                </a:cubicBezTo>
                <a:cubicBezTo>
                  <a:pt x="2272507" y="13672"/>
                  <a:pt x="2254889" y="-18881"/>
                  <a:pt x="2443319" y="0"/>
                </a:cubicBezTo>
                <a:cubicBezTo>
                  <a:pt x="2631749" y="18881"/>
                  <a:pt x="2747716" y="9640"/>
                  <a:pt x="2894801" y="0"/>
                </a:cubicBezTo>
                <a:cubicBezTo>
                  <a:pt x="3041886" y="-9640"/>
                  <a:pt x="3161556" y="226"/>
                  <a:pt x="3240053" y="0"/>
                </a:cubicBezTo>
                <a:cubicBezTo>
                  <a:pt x="3318550" y="-226"/>
                  <a:pt x="3649806" y="-9361"/>
                  <a:pt x="4010229" y="0"/>
                </a:cubicBezTo>
                <a:cubicBezTo>
                  <a:pt x="4370652" y="9361"/>
                  <a:pt x="4531510" y="-26184"/>
                  <a:pt x="4886637" y="0"/>
                </a:cubicBezTo>
                <a:cubicBezTo>
                  <a:pt x="5241764" y="26184"/>
                  <a:pt x="5089164" y="4804"/>
                  <a:pt x="5231889" y="0"/>
                </a:cubicBezTo>
                <a:cubicBezTo>
                  <a:pt x="5374614" y="-4804"/>
                  <a:pt x="5691844" y="-32510"/>
                  <a:pt x="5895834" y="0"/>
                </a:cubicBezTo>
                <a:cubicBezTo>
                  <a:pt x="6099824" y="32510"/>
                  <a:pt x="6163915" y="-9325"/>
                  <a:pt x="6241085" y="0"/>
                </a:cubicBezTo>
                <a:cubicBezTo>
                  <a:pt x="6318255" y="9325"/>
                  <a:pt x="6664936" y="6104"/>
                  <a:pt x="7011262" y="0"/>
                </a:cubicBezTo>
                <a:cubicBezTo>
                  <a:pt x="7357588" y="-6104"/>
                  <a:pt x="7283737" y="-16869"/>
                  <a:pt x="7356513" y="0"/>
                </a:cubicBezTo>
                <a:cubicBezTo>
                  <a:pt x="7429289" y="16869"/>
                  <a:pt x="7584136" y="18179"/>
                  <a:pt x="7807996" y="0"/>
                </a:cubicBezTo>
                <a:cubicBezTo>
                  <a:pt x="8031856" y="-18179"/>
                  <a:pt x="8303279" y="-21355"/>
                  <a:pt x="8578173" y="0"/>
                </a:cubicBezTo>
                <a:cubicBezTo>
                  <a:pt x="8853067" y="21355"/>
                  <a:pt x="8796397" y="-7729"/>
                  <a:pt x="8923424" y="0"/>
                </a:cubicBezTo>
                <a:cubicBezTo>
                  <a:pt x="9050451" y="7729"/>
                  <a:pt x="9342386" y="1773"/>
                  <a:pt x="9481138" y="0"/>
                </a:cubicBezTo>
                <a:cubicBezTo>
                  <a:pt x="9619890" y="-1773"/>
                  <a:pt x="9762348" y="19550"/>
                  <a:pt x="10038852" y="0"/>
                </a:cubicBezTo>
                <a:cubicBezTo>
                  <a:pt x="10315356" y="-19550"/>
                  <a:pt x="10413379" y="22843"/>
                  <a:pt x="10623124" y="0"/>
                </a:cubicBezTo>
                <a:lnTo>
                  <a:pt x="10623124" y="0"/>
                </a:lnTo>
                <a:cubicBezTo>
                  <a:pt x="10604702" y="228184"/>
                  <a:pt x="10645663" y="353222"/>
                  <a:pt x="10623124" y="561149"/>
                </a:cubicBezTo>
                <a:cubicBezTo>
                  <a:pt x="10600585" y="769076"/>
                  <a:pt x="10643394" y="923488"/>
                  <a:pt x="10623124" y="1122298"/>
                </a:cubicBezTo>
                <a:cubicBezTo>
                  <a:pt x="10602854" y="1321108"/>
                  <a:pt x="10606320" y="1588223"/>
                  <a:pt x="10623124" y="1849941"/>
                </a:cubicBezTo>
                <a:lnTo>
                  <a:pt x="10623124" y="1849941"/>
                </a:lnTo>
                <a:cubicBezTo>
                  <a:pt x="10308411" y="1853597"/>
                  <a:pt x="10102221" y="1859973"/>
                  <a:pt x="9959179" y="1849941"/>
                </a:cubicBezTo>
                <a:cubicBezTo>
                  <a:pt x="9816137" y="1839909"/>
                  <a:pt x="9461845" y="1885266"/>
                  <a:pt x="9189002" y="1849941"/>
                </a:cubicBezTo>
                <a:cubicBezTo>
                  <a:pt x="8916159" y="1814616"/>
                  <a:pt x="8705939" y="1829521"/>
                  <a:pt x="8312595" y="1849941"/>
                </a:cubicBezTo>
                <a:cubicBezTo>
                  <a:pt x="7919251" y="1870361"/>
                  <a:pt x="7727485" y="1835478"/>
                  <a:pt x="7436187" y="1849941"/>
                </a:cubicBezTo>
                <a:cubicBezTo>
                  <a:pt x="7144889" y="1864404"/>
                  <a:pt x="6934389" y="1852537"/>
                  <a:pt x="6666010" y="1849941"/>
                </a:cubicBezTo>
                <a:cubicBezTo>
                  <a:pt x="6397631" y="1847345"/>
                  <a:pt x="6048436" y="1853263"/>
                  <a:pt x="5789603" y="1849941"/>
                </a:cubicBezTo>
                <a:cubicBezTo>
                  <a:pt x="5530770" y="1846619"/>
                  <a:pt x="5576857" y="1841566"/>
                  <a:pt x="5444351" y="1849941"/>
                </a:cubicBezTo>
                <a:cubicBezTo>
                  <a:pt x="5311845" y="1858316"/>
                  <a:pt x="5026903" y="1881159"/>
                  <a:pt x="4780406" y="1849941"/>
                </a:cubicBezTo>
                <a:cubicBezTo>
                  <a:pt x="4533909" y="1818723"/>
                  <a:pt x="4515711" y="1835244"/>
                  <a:pt x="4435154" y="1849941"/>
                </a:cubicBezTo>
                <a:cubicBezTo>
                  <a:pt x="4354597" y="1864638"/>
                  <a:pt x="4006695" y="1849683"/>
                  <a:pt x="3877440" y="1849941"/>
                </a:cubicBezTo>
                <a:cubicBezTo>
                  <a:pt x="3748185" y="1850199"/>
                  <a:pt x="3704276" y="1861594"/>
                  <a:pt x="3532189" y="1849941"/>
                </a:cubicBezTo>
                <a:cubicBezTo>
                  <a:pt x="3360102" y="1838288"/>
                  <a:pt x="2930165" y="1866550"/>
                  <a:pt x="2762012" y="1849941"/>
                </a:cubicBezTo>
                <a:cubicBezTo>
                  <a:pt x="2593859" y="1833332"/>
                  <a:pt x="2549261" y="1862003"/>
                  <a:pt x="2416761" y="1849941"/>
                </a:cubicBezTo>
                <a:cubicBezTo>
                  <a:pt x="2284261" y="1837879"/>
                  <a:pt x="2242363" y="1859330"/>
                  <a:pt x="2071509" y="1849941"/>
                </a:cubicBezTo>
                <a:cubicBezTo>
                  <a:pt x="1900655" y="1840552"/>
                  <a:pt x="1631973" y="1835236"/>
                  <a:pt x="1407564" y="1849941"/>
                </a:cubicBezTo>
                <a:cubicBezTo>
                  <a:pt x="1183156" y="1864646"/>
                  <a:pt x="1201090" y="1840783"/>
                  <a:pt x="1062312" y="1849941"/>
                </a:cubicBezTo>
                <a:cubicBezTo>
                  <a:pt x="923534" y="1859099"/>
                  <a:pt x="414124" y="1804747"/>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4" h="1849941" stroke="0" extrusionOk="0">
                <a:moveTo>
                  <a:pt x="0" y="0"/>
                </a:moveTo>
                <a:lnTo>
                  <a:pt x="0" y="0"/>
                </a:lnTo>
                <a:cubicBezTo>
                  <a:pt x="355116" y="3983"/>
                  <a:pt x="594171" y="1200"/>
                  <a:pt x="770176" y="0"/>
                </a:cubicBezTo>
                <a:cubicBezTo>
                  <a:pt x="946181" y="-1200"/>
                  <a:pt x="954404" y="-161"/>
                  <a:pt x="1115428" y="0"/>
                </a:cubicBezTo>
                <a:cubicBezTo>
                  <a:pt x="1276452" y="161"/>
                  <a:pt x="1422520" y="5265"/>
                  <a:pt x="1673142" y="0"/>
                </a:cubicBezTo>
                <a:cubicBezTo>
                  <a:pt x="1923764" y="-5265"/>
                  <a:pt x="1972363" y="3662"/>
                  <a:pt x="2124625" y="0"/>
                </a:cubicBezTo>
                <a:cubicBezTo>
                  <a:pt x="2276887" y="-3662"/>
                  <a:pt x="2312049" y="2082"/>
                  <a:pt x="2469876" y="0"/>
                </a:cubicBezTo>
                <a:cubicBezTo>
                  <a:pt x="2627703" y="-2082"/>
                  <a:pt x="2737560" y="4189"/>
                  <a:pt x="2921359" y="0"/>
                </a:cubicBezTo>
                <a:cubicBezTo>
                  <a:pt x="3105158" y="-4189"/>
                  <a:pt x="3234743" y="22542"/>
                  <a:pt x="3372842" y="0"/>
                </a:cubicBezTo>
                <a:cubicBezTo>
                  <a:pt x="3510941" y="-22542"/>
                  <a:pt x="3738839" y="-21056"/>
                  <a:pt x="3930556" y="0"/>
                </a:cubicBezTo>
                <a:cubicBezTo>
                  <a:pt x="4122273" y="21056"/>
                  <a:pt x="4342746" y="-19994"/>
                  <a:pt x="4700732" y="0"/>
                </a:cubicBezTo>
                <a:cubicBezTo>
                  <a:pt x="5058718" y="19994"/>
                  <a:pt x="5091659" y="14119"/>
                  <a:pt x="5258446" y="0"/>
                </a:cubicBezTo>
                <a:cubicBezTo>
                  <a:pt x="5425233" y="-14119"/>
                  <a:pt x="5836539" y="-18180"/>
                  <a:pt x="6134854" y="0"/>
                </a:cubicBezTo>
                <a:cubicBezTo>
                  <a:pt x="6433169" y="18180"/>
                  <a:pt x="6335729" y="-13066"/>
                  <a:pt x="6480106" y="0"/>
                </a:cubicBezTo>
                <a:cubicBezTo>
                  <a:pt x="6624483" y="13066"/>
                  <a:pt x="6911049" y="-21879"/>
                  <a:pt x="7250282" y="0"/>
                </a:cubicBezTo>
                <a:cubicBezTo>
                  <a:pt x="7589515" y="21879"/>
                  <a:pt x="7500710" y="-7088"/>
                  <a:pt x="7701765" y="0"/>
                </a:cubicBezTo>
                <a:cubicBezTo>
                  <a:pt x="7902820" y="7088"/>
                  <a:pt x="8248208" y="11902"/>
                  <a:pt x="8471941" y="0"/>
                </a:cubicBezTo>
                <a:cubicBezTo>
                  <a:pt x="8695674" y="-11902"/>
                  <a:pt x="8769883" y="4371"/>
                  <a:pt x="8923424" y="0"/>
                </a:cubicBezTo>
                <a:cubicBezTo>
                  <a:pt x="9076965" y="-4371"/>
                  <a:pt x="9160086" y="8065"/>
                  <a:pt x="9374907" y="0"/>
                </a:cubicBezTo>
                <a:cubicBezTo>
                  <a:pt x="9589728" y="-8065"/>
                  <a:pt x="10358264" y="2455"/>
                  <a:pt x="10623124" y="0"/>
                </a:cubicBezTo>
                <a:lnTo>
                  <a:pt x="10623124" y="0"/>
                </a:lnTo>
                <a:cubicBezTo>
                  <a:pt x="10649846" y="166197"/>
                  <a:pt x="10620927" y="355982"/>
                  <a:pt x="10623124" y="635146"/>
                </a:cubicBezTo>
                <a:cubicBezTo>
                  <a:pt x="10625321" y="914310"/>
                  <a:pt x="10622709" y="964317"/>
                  <a:pt x="10623124" y="1251793"/>
                </a:cubicBezTo>
                <a:cubicBezTo>
                  <a:pt x="10623539" y="1539269"/>
                  <a:pt x="10630652" y="1630607"/>
                  <a:pt x="10623124" y="1849941"/>
                </a:cubicBezTo>
                <a:lnTo>
                  <a:pt x="10623124" y="1849941"/>
                </a:lnTo>
                <a:cubicBezTo>
                  <a:pt x="10492906" y="1828873"/>
                  <a:pt x="10329197" y="1844956"/>
                  <a:pt x="10171641" y="1849941"/>
                </a:cubicBezTo>
                <a:cubicBezTo>
                  <a:pt x="10014085" y="1854926"/>
                  <a:pt x="9642561" y="1845317"/>
                  <a:pt x="9295234" y="1849941"/>
                </a:cubicBezTo>
                <a:cubicBezTo>
                  <a:pt x="8947907" y="1854565"/>
                  <a:pt x="8827225" y="1880626"/>
                  <a:pt x="8525057" y="1849941"/>
                </a:cubicBezTo>
                <a:cubicBezTo>
                  <a:pt x="8222889" y="1819256"/>
                  <a:pt x="8011988" y="1854563"/>
                  <a:pt x="7754881" y="1849941"/>
                </a:cubicBezTo>
                <a:cubicBezTo>
                  <a:pt x="7497774" y="1845319"/>
                  <a:pt x="7054549" y="1864474"/>
                  <a:pt x="6878473" y="1849941"/>
                </a:cubicBezTo>
                <a:cubicBezTo>
                  <a:pt x="6702397" y="1835408"/>
                  <a:pt x="6554735" y="1859904"/>
                  <a:pt x="6320759" y="1849941"/>
                </a:cubicBezTo>
                <a:cubicBezTo>
                  <a:pt x="6086783" y="1839978"/>
                  <a:pt x="6003151" y="1833832"/>
                  <a:pt x="5869276" y="1849941"/>
                </a:cubicBezTo>
                <a:cubicBezTo>
                  <a:pt x="5735401" y="1866050"/>
                  <a:pt x="5575485" y="1866413"/>
                  <a:pt x="5417793" y="1849941"/>
                </a:cubicBezTo>
                <a:cubicBezTo>
                  <a:pt x="5260101" y="1833469"/>
                  <a:pt x="4934895" y="1847043"/>
                  <a:pt x="4647617" y="1849941"/>
                </a:cubicBezTo>
                <a:cubicBezTo>
                  <a:pt x="4360339" y="1852839"/>
                  <a:pt x="4110838" y="1842447"/>
                  <a:pt x="3877440" y="1849941"/>
                </a:cubicBezTo>
                <a:cubicBezTo>
                  <a:pt x="3644042" y="1857435"/>
                  <a:pt x="3548299" y="1870814"/>
                  <a:pt x="3319726" y="1849941"/>
                </a:cubicBezTo>
                <a:cubicBezTo>
                  <a:pt x="3091153" y="1829068"/>
                  <a:pt x="2913042" y="1838209"/>
                  <a:pt x="2549550" y="1849941"/>
                </a:cubicBezTo>
                <a:cubicBezTo>
                  <a:pt x="2186058" y="1861673"/>
                  <a:pt x="2367087" y="1849746"/>
                  <a:pt x="2204298" y="1849941"/>
                </a:cubicBezTo>
                <a:cubicBezTo>
                  <a:pt x="2041509" y="1850136"/>
                  <a:pt x="1754707" y="1862384"/>
                  <a:pt x="1434122" y="1849941"/>
                </a:cubicBezTo>
                <a:cubicBezTo>
                  <a:pt x="1113537" y="1837498"/>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04350506-1FB8-8000-232D-B74D9B302CE5}"/>
              </a:ext>
            </a:extLst>
          </p:cNvPr>
          <p:cNvSpPr/>
          <p:nvPr/>
        </p:nvSpPr>
        <p:spPr>
          <a:xfrm rot="16200000" flipH="1">
            <a:off x="-140533" y="3037022"/>
            <a:ext cx="1849940" cy="402167"/>
          </a:xfrm>
          <a:prstGeom prst="roundRect">
            <a:avLst>
              <a:gd name="adj" fmla="val 0"/>
            </a:avLst>
          </a:prstGeom>
          <a:solidFill>
            <a:srgbClr val="005850"/>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vil vi</a:t>
            </a:r>
          </a:p>
        </p:txBody>
      </p:sp>
      <p:sp>
        <p:nvSpPr>
          <p:cNvPr id="8" name="Rectangle: Rounded Corners 7">
            <a:extLst>
              <a:ext uri="{FF2B5EF4-FFF2-40B4-BE49-F238E27FC236}">
                <a16:creationId xmlns:a16="http://schemas.microsoft.com/office/drawing/2014/main" id="{734568C0-4F6B-64A2-33E4-E861CA77B65B}"/>
              </a:ext>
            </a:extLst>
          </p:cNvPr>
          <p:cNvSpPr/>
          <p:nvPr/>
        </p:nvSpPr>
        <p:spPr>
          <a:xfrm>
            <a:off x="1114142" y="1737360"/>
            <a:ext cx="5115998" cy="396000"/>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13" name="Rectangle: Rounded Corners 12">
            <a:extLst>
              <a:ext uri="{FF2B5EF4-FFF2-40B4-BE49-F238E27FC236}">
                <a16:creationId xmlns:a16="http://schemas.microsoft.com/office/drawing/2014/main" id="{48EBF6A7-5332-A402-7E4F-EBE03ABCB50F}"/>
              </a:ext>
            </a:extLst>
          </p:cNvPr>
          <p:cNvSpPr/>
          <p:nvPr/>
        </p:nvSpPr>
        <p:spPr>
          <a:xfrm>
            <a:off x="985521" y="4341865"/>
            <a:ext cx="10623126" cy="1849941"/>
          </a:xfrm>
          <a:custGeom>
            <a:avLst/>
            <a:gdLst>
              <a:gd name="connsiteX0" fmla="*/ 0 w 10623126"/>
              <a:gd name="connsiteY0" fmla="*/ 0 h 1849941"/>
              <a:gd name="connsiteX1" fmla="*/ 0 w 10623126"/>
              <a:gd name="connsiteY1" fmla="*/ 0 h 1849941"/>
              <a:gd name="connsiteX2" fmla="*/ 770177 w 10623126"/>
              <a:gd name="connsiteY2" fmla="*/ 0 h 1849941"/>
              <a:gd name="connsiteX3" fmla="*/ 1327891 w 10623126"/>
              <a:gd name="connsiteY3" fmla="*/ 0 h 1849941"/>
              <a:gd name="connsiteX4" fmla="*/ 1991836 w 10623126"/>
              <a:gd name="connsiteY4" fmla="*/ 0 h 1849941"/>
              <a:gd name="connsiteX5" fmla="*/ 2443319 w 10623126"/>
              <a:gd name="connsiteY5" fmla="*/ 0 h 1849941"/>
              <a:gd name="connsiteX6" fmla="*/ 2894802 w 10623126"/>
              <a:gd name="connsiteY6" fmla="*/ 0 h 1849941"/>
              <a:gd name="connsiteX7" fmla="*/ 3240053 w 10623126"/>
              <a:gd name="connsiteY7" fmla="*/ 0 h 1849941"/>
              <a:gd name="connsiteX8" fmla="*/ 4010230 w 10623126"/>
              <a:gd name="connsiteY8" fmla="*/ 0 h 1849941"/>
              <a:gd name="connsiteX9" fmla="*/ 4886638 w 10623126"/>
              <a:gd name="connsiteY9" fmla="*/ 0 h 1849941"/>
              <a:gd name="connsiteX10" fmla="*/ 5231890 w 10623126"/>
              <a:gd name="connsiteY10" fmla="*/ 0 h 1849941"/>
              <a:gd name="connsiteX11" fmla="*/ 5895835 w 10623126"/>
              <a:gd name="connsiteY11" fmla="*/ 0 h 1849941"/>
              <a:gd name="connsiteX12" fmla="*/ 6241087 w 10623126"/>
              <a:gd name="connsiteY12" fmla="*/ 0 h 1849941"/>
              <a:gd name="connsiteX13" fmla="*/ 7011263 w 10623126"/>
              <a:gd name="connsiteY13" fmla="*/ 0 h 1849941"/>
              <a:gd name="connsiteX14" fmla="*/ 7356515 w 10623126"/>
              <a:gd name="connsiteY14" fmla="*/ 0 h 1849941"/>
              <a:gd name="connsiteX15" fmla="*/ 7807998 w 10623126"/>
              <a:gd name="connsiteY15" fmla="*/ 0 h 1849941"/>
              <a:gd name="connsiteX16" fmla="*/ 8578174 w 10623126"/>
              <a:gd name="connsiteY16" fmla="*/ 0 h 1849941"/>
              <a:gd name="connsiteX17" fmla="*/ 8923426 w 10623126"/>
              <a:gd name="connsiteY17" fmla="*/ 0 h 1849941"/>
              <a:gd name="connsiteX18" fmla="*/ 9481140 w 10623126"/>
              <a:gd name="connsiteY18" fmla="*/ 0 h 1849941"/>
              <a:gd name="connsiteX19" fmla="*/ 10038854 w 10623126"/>
              <a:gd name="connsiteY19" fmla="*/ 0 h 1849941"/>
              <a:gd name="connsiteX20" fmla="*/ 10623126 w 10623126"/>
              <a:gd name="connsiteY20" fmla="*/ 0 h 1849941"/>
              <a:gd name="connsiteX21" fmla="*/ 10623126 w 10623126"/>
              <a:gd name="connsiteY21" fmla="*/ 0 h 1849941"/>
              <a:gd name="connsiteX22" fmla="*/ 10623126 w 10623126"/>
              <a:gd name="connsiteY22" fmla="*/ 561149 h 1849941"/>
              <a:gd name="connsiteX23" fmla="*/ 10623126 w 10623126"/>
              <a:gd name="connsiteY23" fmla="*/ 1122298 h 1849941"/>
              <a:gd name="connsiteX24" fmla="*/ 10623126 w 10623126"/>
              <a:gd name="connsiteY24" fmla="*/ 1849941 h 1849941"/>
              <a:gd name="connsiteX25" fmla="*/ 10623126 w 10623126"/>
              <a:gd name="connsiteY25" fmla="*/ 1849941 h 1849941"/>
              <a:gd name="connsiteX26" fmla="*/ 9959181 w 10623126"/>
              <a:gd name="connsiteY26" fmla="*/ 1849941 h 1849941"/>
              <a:gd name="connsiteX27" fmla="*/ 9189004 w 10623126"/>
              <a:gd name="connsiteY27" fmla="*/ 1849941 h 1849941"/>
              <a:gd name="connsiteX28" fmla="*/ 8312596 w 10623126"/>
              <a:gd name="connsiteY28" fmla="*/ 1849941 h 1849941"/>
              <a:gd name="connsiteX29" fmla="*/ 7436188 w 10623126"/>
              <a:gd name="connsiteY29" fmla="*/ 1849941 h 1849941"/>
              <a:gd name="connsiteX30" fmla="*/ 6666012 w 10623126"/>
              <a:gd name="connsiteY30" fmla="*/ 1849941 h 1849941"/>
              <a:gd name="connsiteX31" fmla="*/ 5789604 w 10623126"/>
              <a:gd name="connsiteY31" fmla="*/ 1849941 h 1849941"/>
              <a:gd name="connsiteX32" fmla="*/ 5444352 w 10623126"/>
              <a:gd name="connsiteY32" fmla="*/ 1849941 h 1849941"/>
              <a:gd name="connsiteX33" fmla="*/ 4780407 w 10623126"/>
              <a:gd name="connsiteY33" fmla="*/ 1849941 h 1849941"/>
              <a:gd name="connsiteX34" fmla="*/ 4435155 w 10623126"/>
              <a:gd name="connsiteY34" fmla="*/ 1849941 h 1849941"/>
              <a:gd name="connsiteX35" fmla="*/ 3877441 w 10623126"/>
              <a:gd name="connsiteY35" fmla="*/ 1849941 h 1849941"/>
              <a:gd name="connsiteX36" fmla="*/ 3532189 w 10623126"/>
              <a:gd name="connsiteY36" fmla="*/ 1849941 h 1849941"/>
              <a:gd name="connsiteX37" fmla="*/ 2762013 w 10623126"/>
              <a:gd name="connsiteY37" fmla="*/ 1849941 h 1849941"/>
              <a:gd name="connsiteX38" fmla="*/ 2416761 w 10623126"/>
              <a:gd name="connsiteY38" fmla="*/ 1849941 h 1849941"/>
              <a:gd name="connsiteX39" fmla="*/ 2071510 w 10623126"/>
              <a:gd name="connsiteY39" fmla="*/ 1849941 h 1849941"/>
              <a:gd name="connsiteX40" fmla="*/ 1407564 w 10623126"/>
              <a:gd name="connsiteY40" fmla="*/ 1849941 h 1849941"/>
              <a:gd name="connsiteX41" fmla="*/ 1062313 w 10623126"/>
              <a:gd name="connsiteY41" fmla="*/ 1849941 h 1849941"/>
              <a:gd name="connsiteX42" fmla="*/ 0 w 10623126"/>
              <a:gd name="connsiteY42" fmla="*/ 1849941 h 1849941"/>
              <a:gd name="connsiteX43" fmla="*/ 0 w 10623126"/>
              <a:gd name="connsiteY43" fmla="*/ 1849941 h 1849941"/>
              <a:gd name="connsiteX44" fmla="*/ 0 w 10623126"/>
              <a:gd name="connsiteY44" fmla="*/ 1288792 h 1849941"/>
              <a:gd name="connsiteX45" fmla="*/ 0 w 10623126"/>
              <a:gd name="connsiteY45" fmla="*/ 727643 h 1849941"/>
              <a:gd name="connsiteX46" fmla="*/ 0 w 10623126"/>
              <a:gd name="connsiteY46" fmla="*/ 0 h 184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623126" h="1849941" fill="none" extrusionOk="0">
                <a:moveTo>
                  <a:pt x="0" y="0"/>
                </a:moveTo>
                <a:lnTo>
                  <a:pt x="0" y="0"/>
                </a:lnTo>
                <a:cubicBezTo>
                  <a:pt x="177302" y="-14941"/>
                  <a:pt x="561055" y="6843"/>
                  <a:pt x="770177" y="0"/>
                </a:cubicBezTo>
                <a:cubicBezTo>
                  <a:pt x="979299" y="-6843"/>
                  <a:pt x="1172850" y="5082"/>
                  <a:pt x="1327891" y="0"/>
                </a:cubicBezTo>
                <a:cubicBezTo>
                  <a:pt x="1482932" y="-5082"/>
                  <a:pt x="1711165" y="-13672"/>
                  <a:pt x="1991836" y="0"/>
                </a:cubicBezTo>
                <a:cubicBezTo>
                  <a:pt x="2272507" y="13672"/>
                  <a:pt x="2254889" y="-18881"/>
                  <a:pt x="2443319" y="0"/>
                </a:cubicBezTo>
                <a:cubicBezTo>
                  <a:pt x="2631749" y="18881"/>
                  <a:pt x="2740076" y="7132"/>
                  <a:pt x="2894802" y="0"/>
                </a:cubicBezTo>
                <a:cubicBezTo>
                  <a:pt x="3049528" y="-7132"/>
                  <a:pt x="3170438" y="9875"/>
                  <a:pt x="3240053" y="0"/>
                </a:cubicBezTo>
                <a:cubicBezTo>
                  <a:pt x="3309668" y="-9875"/>
                  <a:pt x="3649232" y="-13082"/>
                  <a:pt x="4010230" y="0"/>
                </a:cubicBezTo>
                <a:cubicBezTo>
                  <a:pt x="4371228" y="13082"/>
                  <a:pt x="4531511" y="-26184"/>
                  <a:pt x="4886638" y="0"/>
                </a:cubicBezTo>
                <a:cubicBezTo>
                  <a:pt x="5241765" y="26184"/>
                  <a:pt x="5089165" y="4804"/>
                  <a:pt x="5231890" y="0"/>
                </a:cubicBezTo>
                <a:cubicBezTo>
                  <a:pt x="5374615" y="-4804"/>
                  <a:pt x="5691845" y="-32510"/>
                  <a:pt x="5895835" y="0"/>
                </a:cubicBezTo>
                <a:cubicBezTo>
                  <a:pt x="6099825" y="32510"/>
                  <a:pt x="6158760" y="-13962"/>
                  <a:pt x="6241087" y="0"/>
                </a:cubicBezTo>
                <a:cubicBezTo>
                  <a:pt x="6323414" y="13962"/>
                  <a:pt x="6665505" y="8824"/>
                  <a:pt x="7011263" y="0"/>
                </a:cubicBezTo>
                <a:cubicBezTo>
                  <a:pt x="7357021" y="-8824"/>
                  <a:pt x="7279031" y="11693"/>
                  <a:pt x="7356515" y="0"/>
                </a:cubicBezTo>
                <a:cubicBezTo>
                  <a:pt x="7433999" y="-11693"/>
                  <a:pt x="7584138" y="18179"/>
                  <a:pt x="7807998" y="0"/>
                </a:cubicBezTo>
                <a:cubicBezTo>
                  <a:pt x="8031858" y="-18179"/>
                  <a:pt x="8305509" y="-17509"/>
                  <a:pt x="8578174" y="0"/>
                </a:cubicBezTo>
                <a:cubicBezTo>
                  <a:pt x="8850839" y="17509"/>
                  <a:pt x="8793035" y="-15802"/>
                  <a:pt x="8923426" y="0"/>
                </a:cubicBezTo>
                <a:cubicBezTo>
                  <a:pt x="9053817" y="15802"/>
                  <a:pt x="9342388" y="1773"/>
                  <a:pt x="9481140" y="0"/>
                </a:cubicBezTo>
                <a:cubicBezTo>
                  <a:pt x="9619892" y="-1773"/>
                  <a:pt x="9762350" y="19550"/>
                  <a:pt x="10038854" y="0"/>
                </a:cubicBezTo>
                <a:cubicBezTo>
                  <a:pt x="10315358" y="-19550"/>
                  <a:pt x="10413381" y="22843"/>
                  <a:pt x="10623126" y="0"/>
                </a:cubicBezTo>
                <a:lnTo>
                  <a:pt x="10623126" y="0"/>
                </a:lnTo>
                <a:cubicBezTo>
                  <a:pt x="10604704" y="228184"/>
                  <a:pt x="10645665" y="353222"/>
                  <a:pt x="10623126" y="561149"/>
                </a:cubicBezTo>
                <a:cubicBezTo>
                  <a:pt x="10600587" y="769076"/>
                  <a:pt x="10643396" y="923488"/>
                  <a:pt x="10623126" y="1122298"/>
                </a:cubicBezTo>
                <a:cubicBezTo>
                  <a:pt x="10602856" y="1321108"/>
                  <a:pt x="10606322" y="1588223"/>
                  <a:pt x="10623126" y="1849941"/>
                </a:cubicBezTo>
                <a:lnTo>
                  <a:pt x="10623126" y="1849941"/>
                </a:lnTo>
                <a:cubicBezTo>
                  <a:pt x="10308413" y="1853597"/>
                  <a:pt x="10102223" y="1859973"/>
                  <a:pt x="9959181" y="1849941"/>
                </a:cubicBezTo>
                <a:cubicBezTo>
                  <a:pt x="9816139" y="1839909"/>
                  <a:pt x="9461847" y="1885266"/>
                  <a:pt x="9189004" y="1849941"/>
                </a:cubicBezTo>
                <a:cubicBezTo>
                  <a:pt x="8916161" y="1814616"/>
                  <a:pt x="8707678" y="1830660"/>
                  <a:pt x="8312596" y="1849941"/>
                </a:cubicBezTo>
                <a:cubicBezTo>
                  <a:pt x="7917514" y="1869222"/>
                  <a:pt x="7727486" y="1835478"/>
                  <a:pt x="7436188" y="1849941"/>
                </a:cubicBezTo>
                <a:cubicBezTo>
                  <a:pt x="7144890" y="1864404"/>
                  <a:pt x="6930211" y="1851715"/>
                  <a:pt x="6666012" y="1849941"/>
                </a:cubicBezTo>
                <a:cubicBezTo>
                  <a:pt x="6401813" y="1848167"/>
                  <a:pt x="6048985" y="1857147"/>
                  <a:pt x="5789604" y="1849941"/>
                </a:cubicBezTo>
                <a:cubicBezTo>
                  <a:pt x="5530223" y="1842735"/>
                  <a:pt x="5576858" y="1841566"/>
                  <a:pt x="5444352" y="1849941"/>
                </a:cubicBezTo>
                <a:cubicBezTo>
                  <a:pt x="5311846" y="1858316"/>
                  <a:pt x="5026904" y="1881159"/>
                  <a:pt x="4780407" y="1849941"/>
                </a:cubicBezTo>
                <a:cubicBezTo>
                  <a:pt x="4533910" y="1818723"/>
                  <a:pt x="4515712" y="1835244"/>
                  <a:pt x="4435155" y="1849941"/>
                </a:cubicBezTo>
                <a:cubicBezTo>
                  <a:pt x="4354598" y="1864638"/>
                  <a:pt x="4006696" y="1849683"/>
                  <a:pt x="3877441" y="1849941"/>
                </a:cubicBezTo>
                <a:cubicBezTo>
                  <a:pt x="3748186" y="1850199"/>
                  <a:pt x="3610715" y="1864332"/>
                  <a:pt x="3532189" y="1849941"/>
                </a:cubicBezTo>
                <a:cubicBezTo>
                  <a:pt x="3453663" y="1835550"/>
                  <a:pt x="2929183" y="1865573"/>
                  <a:pt x="2762013" y="1849941"/>
                </a:cubicBezTo>
                <a:cubicBezTo>
                  <a:pt x="2594843" y="1834309"/>
                  <a:pt x="2556388" y="1865620"/>
                  <a:pt x="2416761" y="1849941"/>
                </a:cubicBezTo>
                <a:cubicBezTo>
                  <a:pt x="2277134" y="1834262"/>
                  <a:pt x="2234563" y="1855687"/>
                  <a:pt x="2071510" y="1849941"/>
                </a:cubicBezTo>
                <a:cubicBezTo>
                  <a:pt x="1908457" y="1844195"/>
                  <a:pt x="1637841" y="1837819"/>
                  <a:pt x="1407564" y="1849941"/>
                </a:cubicBezTo>
                <a:cubicBezTo>
                  <a:pt x="1177287" y="1862063"/>
                  <a:pt x="1197106" y="1865729"/>
                  <a:pt x="1062313" y="1849941"/>
                </a:cubicBezTo>
                <a:cubicBezTo>
                  <a:pt x="927520" y="1834153"/>
                  <a:pt x="416685" y="1806880"/>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6" h="1849941" stroke="0" extrusionOk="0">
                <a:moveTo>
                  <a:pt x="0" y="0"/>
                </a:moveTo>
                <a:lnTo>
                  <a:pt x="0" y="0"/>
                </a:lnTo>
                <a:cubicBezTo>
                  <a:pt x="350945" y="1124"/>
                  <a:pt x="592400" y="786"/>
                  <a:pt x="770177" y="0"/>
                </a:cubicBezTo>
                <a:cubicBezTo>
                  <a:pt x="947954" y="-786"/>
                  <a:pt x="961195" y="9684"/>
                  <a:pt x="1115428" y="0"/>
                </a:cubicBezTo>
                <a:cubicBezTo>
                  <a:pt x="1269661" y="-9684"/>
                  <a:pt x="1422520" y="5265"/>
                  <a:pt x="1673142" y="0"/>
                </a:cubicBezTo>
                <a:cubicBezTo>
                  <a:pt x="1923764" y="-5265"/>
                  <a:pt x="1972363" y="3662"/>
                  <a:pt x="2124625" y="0"/>
                </a:cubicBezTo>
                <a:cubicBezTo>
                  <a:pt x="2276887" y="-3662"/>
                  <a:pt x="2310221" y="-3050"/>
                  <a:pt x="2469877" y="0"/>
                </a:cubicBezTo>
                <a:cubicBezTo>
                  <a:pt x="2629533" y="3050"/>
                  <a:pt x="2737561" y="4189"/>
                  <a:pt x="2921360" y="0"/>
                </a:cubicBezTo>
                <a:cubicBezTo>
                  <a:pt x="3105159" y="-4189"/>
                  <a:pt x="3234744" y="22542"/>
                  <a:pt x="3372843" y="0"/>
                </a:cubicBezTo>
                <a:cubicBezTo>
                  <a:pt x="3510942" y="-22542"/>
                  <a:pt x="3738840" y="-21056"/>
                  <a:pt x="3930557" y="0"/>
                </a:cubicBezTo>
                <a:cubicBezTo>
                  <a:pt x="4122274" y="21056"/>
                  <a:pt x="4342747" y="-19994"/>
                  <a:pt x="4700733" y="0"/>
                </a:cubicBezTo>
                <a:cubicBezTo>
                  <a:pt x="5058719" y="19994"/>
                  <a:pt x="5091660" y="14119"/>
                  <a:pt x="5258447" y="0"/>
                </a:cubicBezTo>
                <a:cubicBezTo>
                  <a:pt x="5425234" y="-14119"/>
                  <a:pt x="5836540" y="-18180"/>
                  <a:pt x="6134855" y="0"/>
                </a:cubicBezTo>
                <a:cubicBezTo>
                  <a:pt x="6433170" y="18180"/>
                  <a:pt x="6335730" y="-13066"/>
                  <a:pt x="6480107" y="0"/>
                </a:cubicBezTo>
                <a:cubicBezTo>
                  <a:pt x="6624484" y="13066"/>
                  <a:pt x="6911050" y="-21879"/>
                  <a:pt x="7250283" y="0"/>
                </a:cubicBezTo>
                <a:cubicBezTo>
                  <a:pt x="7589516" y="21879"/>
                  <a:pt x="7500711" y="-7088"/>
                  <a:pt x="7701766" y="0"/>
                </a:cubicBezTo>
                <a:cubicBezTo>
                  <a:pt x="7902821" y="7088"/>
                  <a:pt x="8245432" y="9730"/>
                  <a:pt x="8471943" y="0"/>
                </a:cubicBezTo>
                <a:cubicBezTo>
                  <a:pt x="8698454" y="-9730"/>
                  <a:pt x="8769885" y="4371"/>
                  <a:pt x="8923426" y="0"/>
                </a:cubicBezTo>
                <a:cubicBezTo>
                  <a:pt x="9076967" y="-4371"/>
                  <a:pt x="9160088" y="8065"/>
                  <a:pt x="9374909" y="0"/>
                </a:cubicBezTo>
                <a:cubicBezTo>
                  <a:pt x="9589730" y="-8065"/>
                  <a:pt x="10358266" y="2455"/>
                  <a:pt x="10623126" y="0"/>
                </a:cubicBezTo>
                <a:lnTo>
                  <a:pt x="10623126" y="0"/>
                </a:lnTo>
                <a:cubicBezTo>
                  <a:pt x="10649848" y="166197"/>
                  <a:pt x="10620929" y="355982"/>
                  <a:pt x="10623126" y="635146"/>
                </a:cubicBezTo>
                <a:cubicBezTo>
                  <a:pt x="10625323" y="914310"/>
                  <a:pt x="10622711" y="964317"/>
                  <a:pt x="10623126" y="1251793"/>
                </a:cubicBezTo>
                <a:cubicBezTo>
                  <a:pt x="10623541" y="1539269"/>
                  <a:pt x="10630654" y="1630607"/>
                  <a:pt x="10623126" y="1849941"/>
                </a:cubicBezTo>
                <a:lnTo>
                  <a:pt x="10623126" y="1849941"/>
                </a:lnTo>
                <a:cubicBezTo>
                  <a:pt x="10492908" y="1828873"/>
                  <a:pt x="10329199" y="1844956"/>
                  <a:pt x="10171643" y="1849941"/>
                </a:cubicBezTo>
                <a:cubicBezTo>
                  <a:pt x="10014087" y="1854926"/>
                  <a:pt x="9646312" y="1846595"/>
                  <a:pt x="9295235" y="1849941"/>
                </a:cubicBezTo>
                <a:cubicBezTo>
                  <a:pt x="8944158" y="1853287"/>
                  <a:pt x="8821789" y="1879813"/>
                  <a:pt x="8525059" y="1849941"/>
                </a:cubicBezTo>
                <a:cubicBezTo>
                  <a:pt x="8228329" y="1820069"/>
                  <a:pt x="8013879" y="1857528"/>
                  <a:pt x="7754882" y="1849941"/>
                </a:cubicBezTo>
                <a:cubicBezTo>
                  <a:pt x="7495885" y="1842354"/>
                  <a:pt x="7054550" y="1864474"/>
                  <a:pt x="6878474" y="1849941"/>
                </a:cubicBezTo>
                <a:cubicBezTo>
                  <a:pt x="6702398" y="1835408"/>
                  <a:pt x="6554736" y="1859904"/>
                  <a:pt x="6320760" y="1849941"/>
                </a:cubicBezTo>
                <a:cubicBezTo>
                  <a:pt x="6086784" y="1839978"/>
                  <a:pt x="6003152" y="1833832"/>
                  <a:pt x="5869277" y="1849941"/>
                </a:cubicBezTo>
                <a:cubicBezTo>
                  <a:pt x="5735402" y="1866050"/>
                  <a:pt x="5575486" y="1866413"/>
                  <a:pt x="5417794" y="1849941"/>
                </a:cubicBezTo>
                <a:cubicBezTo>
                  <a:pt x="5260102" y="1833469"/>
                  <a:pt x="4934896" y="1847043"/>
                  <a:pt x="4647618" y="1849941"/>
                </a:cubicBezTo>
                <a:cubicBezTo>
                  <a:pt x="4360340" y="1852839"/>
                  <a:pt x="4110839" y="1842447"/>
                  <a:pt x="3877441" y="1849941"/>
                </a:cubicBezTo>
                <a:cubicBezTo>
                  <a:pt x="3644043" y="1857435"/>
                  <a:pt x="3548300" y="1870814"/>
                  <a:pt x="3319727" y="1849941"/>
                </a:cubicBezTo>
                <a:cubicBezTo>
                  <a:pt x="3091154" y="1829068"/>
                  <a:pt x="2918003" y="1842026"/>
                  <a:pt x="2549550" y="1849941"/>
                </a:cubicBezTo>
                <a:cubicBezTo>
                  <a:pt x="2181097" y="1857856"/>
                  <a:pt x="2365999" y="1845242"/>
                  <a:pt x="2204299" y="1849941"/>
                </a:cubicBezTo>
                <a:cubicBezTo>
                  <a:pt x="2042599" y="1854640"/>
                  <a:pt x="1756688" y="1863018"/>
                  <a:pt x="1434122" y="1849941"/>
                </a:cubicBezTo>
                <a:cubicBezTo>
                  <a:pt x="1111556" y="1836864"/>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B529D998-A604-E943-5B6B-6B21E2A2B1E8}"/>
              </a:ext>
            </a:extLst>
          </p:cNvPr>
          <p:cNvSpPr/>
          <p:nvPr/>
        </p:nvSpPr>
        <p:spPr>
          <a:xfrm rot="16200000" flipH="1">
            <a:off x="-140534" y="5065752"/>
            <a:ext cx="1849941" cy="402167"/>
          </a:xfrm>
          <a:prstGeom prst="roundRect">
            <a:avLst>
              <a:gd name="adj" fmla="val 0"/>
            </a:avLst>
          </a:prstGeom>
          <a:solidFill>
            <a:srgbClr val="005850"/>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gør vi</a:t>
            </a:r>
          </a:p>
        </p:txBody>
      </p:sp>
      <p:sp>
        <p:nvSpPr>
          <p:cNvPr id="4" name="Rectangle 3">
            <a:extLst>
              <a:ext uri="{FF2B5EF4-FFF2-40B4-BE49-F238E27FC236}">
                <a16:creationId xmlns:a16="http://schemas.microsoft.com/office/drawing/2014/main" id="{D7EC6A98-2D57-7002-B710-E00BAB6FB4A7}"/>
              </a:ext>
            </a:extLst>
          </p:cNvPr>
          <p:cNvSpPr/>
          <p:nvPr/>
        </p:nvSpPr>
        <p:spPr>
          <a:xfrm>
            <a:off x="6397178" y="1995908"/>
            <a:ext cx="5115998" cy="4362030"/>
          </a:xfrm>
          <a:prstGeom prst="rect">
            <a:avLst/>
          </a:prstGeom>
          <a:solidFill>
            <a:srgbClr val="B5CE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19CE3471-665D-812D-374C-5753B3EB2DFD}"/>
              </a:ext>
            </a:extLst>
          </p:cNvPr>
          <p:cNvSpPr/>
          <p:nvPr/>
        </p:nvSpPr>
        <p:spPr>
          <a:xfrm>
            <a:off x="6395310" y="1737360"/>
            <a:ext cx="5123418" cy="396000"/>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6" name="TextBox 43">
            <a:extLst>
              <a:ext uri="{FF2B5EF4-FFF2-40B4-BE49-F238E27FC236}">
                <a16:creationId xmlns:a16="http://schemas.microsoft.com/office/drawing/2014/main" id="{459B08B6-F71D-DBF8-440D-63BA4962B25F}"/>
              </a:ext>
            </a:extLst>
          </p:cNvPr>
          <p:cNvSpPr txBox="1"/>
          <p:nvPr/>
        </p:nvSpPr>
        <p:spPr>
          <a:xfrm>
            <a:off x="1202865" y="2330482"/>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dirty="0">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Ambition &amp; målsætning: </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Baseline:</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p:txBody>
      </p:sp>
      <p:sp>
        <p:nvSpPr>
          <p:cNvPr id="7" name="TextBox 43">
            <a:extLst>
              <a:ext uri="{FF2B5EF4-FFF2-40B4-BE49-F238E27FC236}">
                <a16:creationId xmlns:a16="http://schemas.microsoft.com/office/drawing/2014/main" id="{D9030905-24CE-9581-A878-6D4AF51EF34C}"/>
              </a:ext>
            </a:extLst>
          </p:cNvPr>
          <p:cNvSpPr txBox="1"/>
          <p:nvPr/>
        </p:nvSpPr>
        <p:spPr>
          <a:xfrm>
            <a:off x="6444529" y="2330481"/>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lvl="0">
              <a:defRPr/>
            </a:pPr>
            <a:r>
              <a:rPr lang="da-DK" sz="1100" b="1">
                <a:solidFill>
                  <a:srgbClr val="000000"/>
                </a:solidFill>
                <a:latin typeface="Verdana" panose="020B0604030504040204" pitchFamily="34" charset="0"/>
                <a:ea typeface="Verdana" panose="020B0604030504040204" pitchFamily="34" charset="0"/>
              </a:rPr>
              <a:t>Ambition &amp; målsætning: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p:txBody>
      </p:sp>
      <p:sp>
        <p:nvSpPr>
          <p:cNvPr id="19" name="TextBox 43">
            <a:extLst>
              <a:ext uri="{FF2B5EF4-FFF2-40B4-BE49-F238E27FC236}">
                <a16:creationId xmlns:a16="http://schemas.microsoft.com/office/drawing/2014/main" id="{F4A91481-A367-5AB4-0130-1E5B2125A70C}"/>
              </a:ext>
            </a:extLst>
          </p:cNvPr>
          <p:cNvSpPr txBox="1"/>
          <p:nvPr/>
        </p:nvSpPr>
        <p:spPr>
          <a:xfrm>
            <a:off x="1202865" y="4355404"/>
            <a:ext cx="4888006" cy="1785104"/>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dirty="0">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a:defRPr/>
            </a:pPr>
            <a:r>
              <a:rPr lang="da-DK" sz="1100" b="1" dirty="0">
                <a:solidFill>
                  <a:srgbClr val="000000"/>
                </a:solidFill>
                <a:latin typeface="Verdana" panose="020B0604030504040204" pitchFamily="34" charset="0"/>
                <a:ea typeface="Verdana" panose="020B0604030504040204" pitchFamily="34" charset="0"/>
              </a:rPr>
              <a:t>Resultater: </a:t>
            </a:r>
            <a:r>
              <a:rPr lang="da-DK" sz="1100" i="1" dirty="0">
                <a:solidFill>
                  <a:schemeClr val="bg1">
                    <a:lumMod val="50000"/>
                  </a:schemeClr>
                </a:solidFill>
                <a:latin typeface="Verdana" panose="020B0604030504040204" pitchFamily="34" charset="0"/>
                <a:ea typeface="Verdana" panose="020B0604030504040204" pitchFamily="34" charset="0"/>
              </a:rPr>
              <a:t>Hvilke resultater har I opnået</a:t>
            </a:r>
          </a:p>
        </p:txBody>
      </p:sp>
      <p:sp>
        <p:nvSpPr>
          <p:cNvPr id="20" name="TextBox 43">
            <a:extLst>
              <a:ext uri="{FF2B5EF4-FFF2-40B4-BE49-F238E27FC236}">
                <a16:creationId xmlns:a16="http://schemas.microsoft.com/office/drawing/2014/main" id="{C3581FBF-E76A-D795-B0D1-5C2489722365}"/>
              </a:ext>
            </a:extLst>
          </p:cNvPr>
          <p:cNvSpPr txBox="1"/>
          <p:nvPr/>
        </p:nvSpPr>
        <p:spPr>
          <a:xfrm>
            <a:off x="6444529" y="4355403"/>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a-DK" sz="1100" i="1" dirty="0">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a:defRPr/>
            </a:pPr>
            <a:r>
              <a:rPr lang="da-DK" sz="1100" b="1" dirty="0">
                <a:solidFill>
                  <a:srgbClr val="000000"/>
                </a:solidFill>
                <a:latin typeface="Verdana" panose="020B0604030504040204" pitchFamily="34" charset="0"/>
                <a:ea typeface="Verdana" panose="020B0604030504040204" pitchFamily="34" charset="0"/>
              </a:rPr>
              <a:t>Resultater: </a:t>
            </a:r>
            <a:r>
              <a:rPr lang="da-DK" sz="1100" i="1" dirty="0">
                <a:solidFill>
                  <a:schemeClr val="bg1">
                    <a:lumMod val="50000"/>
                  </a:schemeClr>
                </a:solidFill>
                <a:latin typeface="Verdana" panose="020B0604030504040204" pitchFamily="34" charset="0"/>
                <a:ea typeface="Verdana" panose="020B0604030504040204" pitchFamily="34" charset="0"/>
              </a:rPr>
              <a:t>Hvilke resultater har I opnået</a:t>
            </a: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745813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342CE-12BD-18A9-7C2E-F8CAA3792C3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54F7A8E-9F73-28E4-AD4D-EEAB59010E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254F7A8E-9F73-28E4-AD4D-EEAB59010E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4DC4D38-7D75-0E11-4235-4AF16AE0DECD}"/>
              </a:ext>
            </a:extLst>
          </p:cNvPr>
          <p:cNvSpPr>
            <a:spLocks noGrp="1"/>
          </p:cNvSpPr>
          <p:nvPr>
            <p:ph type="sldNum" sz="quarter" idx="12"/>
          </p:nvPr>
        </p:nvSpPr>
        <p:spPr/>
        <p:txBody>
          <a:bodyPr/>
          <a:lstStyle/>
          <a:p>
            <a:fld id="{D1CF6110-3358-3240-B3E6-2B2529506D05}" type="slidenum">
              <a:rPr lang="da-DK" smtClean="0"/>
              <a:t>14</a:t>
            </a:fld>
            <a:endParaRPr lang="da-DK"/>
          </a:p>
        </p:txBody>
      </p:sp>
      <p:sp>
        <p:nvSpPr>
          <p:cNvPr id="8" name="Rectangle 7">
            <a:extLst>
              <a:ext uri="{FF2B5EF4-FFF2-40B4-BE49-F238E27FC236}">
                <a16:creationId xmlns:a16="http://schemas.microsoft.com/office/drawing/2014/main" id="{56B9D3DE-5895-71D9-AD7C-3ED168C3DF63}"/>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 standarden, kan I blandt andet læse om hver indikator, hvor I finder info om værdien og relevansen for den pågældende indikator. Indsæt en indikator samt beskrivende tekst om, hvad data viser, hvad årsagen til udviklingen er, hvad jeres forventninger er til fremtidig udvikling, hvilke konkrete handlinger der er taget/tages på baggrund af indsigten i data mm.</a:t>
            </a:r>
          </a:p>
        </p:txBody>
      </p:sp>
      <p:sp>
        <p:nvSpPr>
          <p:cNvPr id="14" name="Title 1">
            <a:extLst>
              <a:ext uri="{FF2B5EF4-FFF2-40B4-BE49-F238E27FC236}">
                <a16:creationId xmlns:a16="http://schemas.microsoft.com/office/drawing/2014/main" id="{73DCC2D9-1B3D-310E-2C3F-746D73884470}"/>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DM Sans" pitchFamily="2" charset="77"/>
                <a:ea typeface="Verdana" panose="020B0604030504040204" pitchFamily="34" charset="0"/>
                <a:cs typeface="HelveticaNowDisplay Regular" panose="020B0504030202020204" pitchFamily="34" charset="77"/>
              </a:rPr>
              <a:t>[Navn på målepunkt 1]</a:t>
            </a:r>
            <a:endParaRPr lang="da-DK" sz="4000" dirty="0">
              <a:solidFill>
                <a:srgbClr val="005850"/>
              </a:solidFill>
              <a:latin typeface="DM Sans" pitchFamily="2" charset="0"/>
              <a:ea typeface="Verdana" panose="020B0604030504040204" pitchFamily="34" charset="0"/>
            </a:endParaRPr>
          </a:p>
        </p:txBody>
      </p:sp>
      <p:sp>
        <p:nvSpPr>
          <p:cNvPr id="36" name="Rectangle: Rounded Corners 35">
            <a:extLst>
              <a:ext uri="{FF2B5EF4-FFF2-40B4-BE49-F238E27FC236}">
                <a16:creationId xmlns:a16="http://schemas.microsoft.com/office/drawing/2014/main" id="{8AD3DB9E-294B-86CD-868F-29E12B1AC437}"/>
              </a:ext>
            </a:extLst>
          </p:cNvPr>
          <p:cNvSpPr/>
          <p:nvPr/>
        </p:nvSpPr>
        <p:spPr>
          <a:xfrm>
            <a:off x="6233458" y="2388621"/>
            <a:ext cx="5461353" cy="3945571"/>
          </a:xfrm>
          <a:custGeom>
            <a:avLst/>
            <a:gdLst>
              <a:gd name="connsiteX0" fmla="*/ 0 w 5461353"/>
              <a:gd name="connsiteY0" fmla="*/ 0 h 3945571"/>
              <a:gd name="connsiteX1" fmla="*/ 0 w 5461353"/>
              <a:gd name="connsiteY1" fmla="*/ 0 h 3945571"/>
              <a:gd name="connsiteX2" fmla="*/ 791896 w 5461353"/>
              <a:gd name="connsiteY2" fmla="*/ 0 h 3945571"/>
              <a:gd name="connsiteX3" fmla="*/ 1419952 w 5461353"/>
              <a:gd name="connsiteY3" fmla="*/ 0 h 3945571"/>
              <a:gd name="connsiteX4" fmla="*/ 1993394 w 5461353"/>
              <a:gd name="connsiteY4" fmla="*/ 0 h 3945571"/>
              <a:gd name="connsiteX5" fmla="*/ 2512222 w 5461353"/>
              <a:gd name="connsiteY5" fmla="*/ 0 h 3945571"/>
              <a:gd name="connsiteX6" fmla="*/ 3194892 w 5461353"/>
              <a:gd name="connsiteY6" fmla="*/ 0 h 3945571"/>
              <a:gd name="connsiteX7" fmla="*/ 3768334 w 5461353"/>
              <a:gd name="connsiteY7" fmla="*/ 0 h 3945571"/>
              <a:gd name="connsiteX8" fmla="*/ 4505616 w 5461353"/>
              <a:gd name="connsiteY8" fmla="*/ 0 h 3945571"/>
              <a:gd name="connsiteX9" fmla="*/ 5461353 w 5461353"/>
              <a:gd name="connsiteY9" fmla="*/ 0 h 3945571"/>
              <a:gd name="connsiteX10" fmla="*/ 5461353 w 5461353"/>
              <a:gd name="connsiteY10" fmla="*/ 0 h 3945571"/>
              <a:gd name="connsiteX11" fmla="*/ 5461353 w 5461353"/>
              <a:gd name="connsiteY11" fmla="*/ 539228 h 3945571"/>
              <a:gd name="connsiteX12" fmla="*/ 5461353 w 5461353"/>
              <a:gd name="connsiteY12" fmla="*/ 1196823 h 3945571"/>
              <a:gd name="connsiteX13" fmla="*/ 5461353 w 5461353"/>
              <a:gd name="connsiteY13" fmla="*/ 1775507 h 3945571"/>
              <a:gd name="connsiteX14" fmla="*/ 5461353 w 5461353"/>
              <a:gd name="connsiteY14" fmla="*/ 2433102 h 3945571"/>
              <a:gd name="connsiteX15" fmla="*/ 5461353 w 5461353"/>
              <a:gd name="connsiteY15" fmla="*/ 2972330 h 3945571"/>
              <a:gd name="connsiteX16" fmla="*/ 5461353 w 5461353"/>
              <a:gd name="connsiteY16" fmla="*/ 3945571 h 3945571"/>
              <a:gd name="connsiteX17" fmla="*/ 5461353 w 5461353"/>
              <a:gd name="connsiteY17" fmla="*/ 3945571 h 3945571"/>
              <a:gd name="connsiteX18" fmla="*/ 4887911 w 5461353"/>
              <a:gd name="connsiteY18" fmla="*/ 3945571 h 3945571"/>
              <a:gd name="connsiteX19" fmla="*/ 4205242 w 5461353"/>
              <a:gd name="connsiteY19" fmla="*/ 3945571 h 3945571"/>
              <a:gd name="connsiteX20" fmla="*/ 3577186 w 5461353"/>
              <a:gd name="connsiteY20" fmla="*/ 3945571 h 3945571"/>
              <a:gd name="connsiteX21" fmla="*/ 3058358 w 5461353"/>
              <a:gd name="connsiteY21" fmla="*/ 3945571 h 3945571"/>
              <a:gd name="connsiteX22" fmla="*/ 2430302 w 5461353"/>
              <a:gd name="connsiteY22" fmla="*/ 3945571 h 3945571"/>
              <a:gd name="connsiteX23" fmla="*/ 1693019 w 5461353"/>
              <a:gd name="connsiteY23" fmla="*/ 3945571 h 3945571"/>
              <a:gd name="connsiteX24" fmla="*/ 1010350 w 5461353"/>
              <a:gd name="connsiteY24" fmla="*/ 3945571 h 3945571"/>
              <a:gd name="connsiteX25" fmla="*/ 0 w 5461353"/>
              <a:gd name="connsiteY25" fmla="*/ 3945571 h 3945571"/>
              <a:gd name="connsiteX26" fmla="*/ 0 w 5461353"/>
              <a:gd name="connsiteY26" fmla="*/ 3945571 h 3945571"/>
              <a:gd name="connsiteX27" fmla="*/ 0 w 5461353"/>
              <a:gd name="connsiteY27" fmla="*/ 3406343 h 3945571"/>
              <a:gd name="connsiteX28" fmla="*/ 0 w 5461353"/>
              <a:gd name="connsiteY28" fmla="*/ 2827659 h 3945571"/>
              <a:gd name="connsiteX29" fmla="*/ 0 w 5461353"/>
              <a:gd name="connsiteY29" fmla="*/ 2130608 h 3945571"/>
              <a:gd name="connsiteX30" fmla="*/ 0 w 5461353"/>
              <a:gd name="connsiteY30" fmla="*/ 1591380 h 3945571"/>
              <a:gd name="connsiteX31" fmla="*/ 0 w 5461353"/>
              <a:gd name="connsiteY31" fmla="*/ 973241 h 3945571"/>
              <a:gd name="connsiteX32" fmla="*/ 0 w 5461353"/>
              <a:gd name="connsiteY32" fmla="*/ 0 h 394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6A0654A7-6D41-3484-BC71-DC070EDCDCD0}"/>
              </a:ext>
            </a:extLst>
          </p:cNvPr>
          <p:cNvSpPr/>
          <p:nvPr/>
        </p:nvSpPr>
        <p:spPr>
          <a:xfrm>
            <a:off x="6233455" y="2458819"/>
            <a:ext cx="5461359" cy="3727876"/>
          </a:xfrm>
          <a:custGeom>
            <a:avLst/>
            <a:gdLst>
              <a:gd name="connsiteX0" fmla="*/ 0 w 5461359"/>
              <a:gd name="connsiteY0" fmla="*/ 0 h 3727876"/>
              <a:gd name="connsiteX1" fmla="*/ 737283 w 5461359"/>
              <a:gd name="connsiteY1" fmla="*/ 0 h 3727876"/>
              <a:gd name="connsiteX2" fmla="*/ 1310726 w 5461359"/>
              <a:gd name="connsiteY2" fmla="*/ 0 h 3727876"/>
              <a:gd name="connsiteX3" fmla="*/ 2048010 w 5461359"/>
              <a:gd name="connsiteY3" fmla="*/ 0 h 3727876"/>
              <a:gd name="connsiteX4" fmla="*/ 2566839 w 5461359"/>
              <a:gd name="connsiteY4" fmla="*/ 0 h 3727876"/>
              <a:gd name="connsiteX5" fmla="*/ 3140281 w 5461359"/>
              <a:gd name="connsiteY5" fmla="*/ 0 h 3727876"/>
              <a:gd name="connsiteX6" fmla="*/ 3822951 w 5461359"/>
              <a:gd name="connsiteY6" fmla="*/ 0 h 3727876"/>
              <a:gd name="connsiteX7" fmla="*/ 4560235 w 5461359"/>
              <a:gd name="connsiteY7" fmla="*/ 0 h 3727876"/>
              <a:gd name="connsiteX8" fmla="*/ 5461359 w 5461359"/>
              <a:gd name="connsiteY8" fmla="*/ 0 h 3727876"/>
              <a:gd name="connsiteX9" fmla="*/ 5461359 w 5461359"/>
              <a:gd name="connsiteY9" fmla="*/ 584034 h 3727876"/>
              <a:gd name="connsiteX10" fmla="*/ 5461359 w 5461359"/>
              <a:gd name="connsiteY10" fmla="*/ 1093510 h 3727876"/>
              <a:gd name="connsiteX11" fmla="*/ 5461359 w 5461359"/>
              <a:gd name="connsiteY11" fmla="*/ 1677544 h 3727876"/>
              <a:gd name="connsiteX12" fmla="*/ 5461359 w 5461359"/>
              <a:gd name="connsiteY12" fmla="*/ 2261578 h 3727876"/>
              <a:gd name="connsiteX13" fmla="*/ 5461359 w 5461359"/>
              <a:gd name="connsiteY13" fmla="*/ 2920170 h 3727876"/>
              <a:gd name="connsiteX14" fmla="*/ 5461359 w 5461359"/>
              <a:gd name="connsiteY14" fmla="*/ 3727876 h 3727876"/>
              <a:gd name="connsiteX15" fmla="*/ 4833303 w 5461359"/>
              <a:gd name="connsiteY15" fmla="*/ 3727876 h 3727876"/>
              <a:gd name="connsiteX16" fmla="*/ 4205246 w 5461359"/>
              <a:gd name="connsiteY16" fmla="*/ 3727876 h 3727876"/>
              <a:gd name="connsiteX17" fmla="*/ 3686417 w 5461359"/>
              <a:gd name="connsiteY17" fmla="*/ 3727876 h 3727876"/>
              <a:gd name="connsiteX18" fmla="*/ 2949134 w 5461359"/>
              <a:gd name="connsiteY18" fmla="*/ 3727876 h 3727876"/>
              <a:gd name="connsiteX19" fmla="*/ 2430305 w 5461359"/>
              <a:gd name="connsiteY19" fmla="*/ 3727876 h 3727876"/>
              <a:gd name="connsiteX20" fmla="*/ 1911476 w 5461359"/>
              <a:gd name="connsiteY20" fmla="*/ 3727876 h 3727876"/>
              <a:gd name="connsiteX21" fmla="*/ 1338033 w 5461359"/>
              <a:gd name="connsiteY21" fmla="*/ 3727876 h 3727876"/>
              <a:gd name="connsiteX22" fmla="*/ 600749 w 5461359"/>
              <a:gd name="connsiteY22" fmla="*/ 3727876 h 3727876"/>
              <a:gd name="connsiteX23" fmla="*/ 0 w 5461359"/>
              <a:gd name="connsiteY23" fmla="*/ 3727876 h 3727876"/>
              <a:gd name="connsiteX24" fmla="*/ 0 w 5461359"/>
              <a:gd name="connsiteY24" fmla="*/ 3181121 h 3727876"/>
              <a:gd name="connsiteX25" fmla="*/ 0 w 5461359"/>
              <a:gd name="connsiteY25" fmla="*/ 2559808 h 3727876"/>
              <a:gd name="connsiteX26" fmla="*/ 0 w 5461359"/>
              <a:gd name="connsiteY26" fmla="*/ 2013053 h 3727876"/>
              <a:gd name="connsiteX27" fmla="*/ 0 w 5461359"/>
              <a:gd name="connsiteY27" fmla="*/ 1354462 h 3727876"/>
              <a:gd name="connsiteX28" fmla="*/ 0 w 5461359"/>
              <a:gd name="connsiteY28" fmla="*/ 807706 h 3727876"/>
              <a:gd name="connsiteX29" fmla="*/ 0 w 5461359"/>
              <a:gd name="connsiteY29" fmla="*/ 0 h 372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9" h="37278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58794" y="277702"/>
                  <a:pt x="5476374" y="451999"/>
                  <a:pt x="5461359" y="584034"/>
                </a:cubicBezTo>
                <a:cubicBezTo>
                  <a:pt x="5446344" y="716069"/>
                  <a:pt x="5483755" y="838796"/>
                  <a:pt x="5461359" y="1093510"/>
                </a:cubicBezTo>
                <a:cubicBezTo>
                  <a:pt x="5438963" y="1348224"/>
                  <a:pt x="5459307" y="1481336"/>
                  <a:pt x="5461359" y="1677544"/>
                </a:cubicBezTo>
                <a:cubicBezTo>
                  <a:pt x="5463411" y="1873752"/>
                  <a:pt x="5474182" y="2010482"/>
                  <a:pt x="5461359" y="2261578"/>
                </a:cubicBezTo>
                <a:cubicBezTo>
                  <a:pt x="5448536" y="2512674"/>
                  <a:pt x="5451869" y="2771972"/>
                  <a:pt x="5461359" y="2920170"/>
                </a:cubicBezTo>
                <a:cubicBezTo>
                  <a:pt x="5470849" y="3068368"/>
                  <a:pt x="5435991" y="3529702"/>
                  <a:pt x="5461359" y="3727876"/>
                </a:cubicBezTo>
                <a:cubicBezTo>
                  <a:pt x="5311886" y="3724724"/>
                  <a:pt x="5143050" y="3718476"/>
                  <a:pt x="4833303" y="3727876"/>
                </a:cubicBezTo>
                <a:cubicBezTo>
                  <a:pt x="4523556" y="3737276"/>
                  <a:pt x="4417068" y="3696834"/>
                  <a:pt x="4205246" y="3727876"/>
                </a:cubicBezTo>
                <a:cubicBezTo>
                  <a:pt x="3993424" y="3758918"/>
                  <a:pt x="3880589" y="3712139"/>
                  <a:pt x="3686417" y="3727876"/>
                </a:cubicBezTo>
                <a:cubicBezTo>
                  <a:pt x="3492245" y="3743613"/>
                  <a:pt x="3175419" y="3717278"/>
                  <a:pt x="2949134" y="3727876"/>
                </a:cubicBezTo>
                <a:cubicBezTo>
                  <a:pt x="2722849" y="3738474"/>
                  <a:pt x="2590123" y="3708410"/>
                  <a:pt x="2430305" y="3727876"/>
                </a:cubicBezTo>
                <a:cubicBezTo>
                  <a:pt x="2270487" y="3747342"/>
                  <a:pt x="2117864" y="3749189"/>
                  <a:pt x="1911476" y="3727876"/>
                </a:cubicBezTo>
                <a:cubicBezTo>
                  <a:pt x="1705088" y="3706563"/>
                  <a:pt x="1458050" y="3753756"/>
                  <a:pt x="1338033" y="3727876"/>
                </a:cubicBezTo>
                <a:cubicBezTo>
                  <a:pt x="1218016" y="3701996"/>
                  <a:pt x="809455" y="3757903"/>
                  <a:pt x="600749" y="3727876"/>
                </a:cubicBezTo>
                <a:cubicBezTo>
                  <a:pt x="392043" y="3697849"/>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9" name="Rectangle: Rounded Corners 38">
            <a:extLst>
              <a:ext uri="{FF2B5EF4-FFF2-40B4-BE49-F238E27FC236}">
                <a16:creationId xmlns:a16="http://schemas.microsoft.com/office/drawing/2014/main" id="{02F58D0C-DACC-6041-2334-D8FDEB179DE1}"/>
              </a:ext>
            </a:extLst>
          </p:cNvPr>
          <p:cNvSpPr/>
          <p:nvPr/>
        </p:nvSpPr>
        <p:spPr>
          <a:xfrm>
            <a:off x="497187" y="2388621"/>
            <a:ext cx="5461353" cy="3945571"/>
          </a:xfrm>
          <a:custGeom>
            <a:avLst/>
            <a:gdLst>
              <a:gd name="connsiteX0" fmla="*/ 0 w 5461353"/>
              <a:gd name="connsiteY0" fmla="*/ 0 h 3945571"/>
              <a:gd name="connsiteX1" fmla="*/ 0 w 5461353"/>
              <a:gd name="connsiteY1" fmla="*/ 0 h 3945571"/>
              <a:gd name="connsiteX2" fmla="*/ 791896 w 5461353"/>
              <a:gd name="connsiteY2" fmla="*/ 0 h 3945571"/>
              <a:gd name="connsiteX3" fmla="*/ 1419952 w 5461353"/>
              <a:gd name="connsiteY3" fmla="*/ 0 h 3945571"/>
              <a:gd name="connsiteX4" fmla="*/ 1993394 w 5461353"/>
              <a:gd name="connsiteY4" fmla="*/ 0 h 3945571"/>
              <a:gd name="connsiteX5" fmla="*/ 2512222 w 5461353"/>
              <a:gd name="connsiteY5" fmla="*/ 0 h 3945571"/>
              <a:gd name="connsiteX6" fmla="*/ 3194892 w 5461353"/>
              <a:gd name="connsiteY6" fmla="*/ 0 h 3945571"/>
              <a:gd name="connsiteX7" fmla="*/ 3768334 w 5461353"/>
              <a:gd name="connsiteY7" fmla="*/ 0 h 3945571"/>
              <a:gd name="connsiteX8" fmla="*/ 4505616 w 5461353"/>
              <a:gd name="connsiteY8" fmla="*/ 0 h 3945571"/>
              <a:gd name="connsiteX9" fmla="*/ 5461353 w 5461353"/>
              <a:gd name="connsiteY9" fmla="*/ 0 h 3945571"/>
              <a:gd name="connsiteX10" fmla="*/ 5461353 w 5461353"/>
              <a:gd name="connsiteY10" fmla="*/ 0 h 3945571"/>
              <a:gd name="connsiteX11" fmla="*/ 5461353 w 5461353"/>
              <a:gd name="connsiteY11" fmla="*/ 539228 h 3945571"/>
              <a:gd name="connsiteX12" fmla="*/ 5461353 w 5461353"/>
              <a:gd name="connsiteY12" fmla="*/ 1196823 h 3945571"/>
              <a:gd name="connsiteX13" fmla="*/ 5461353 w 5461353"/>
              <a:gd name="connsiteY13" fmla="*/ 1775507 h 3945571"/>
              <a:gd name="connsiteX14" fmla="*/ 5461353 w 5461353"/>
              <a:gd name="connsiteY14" fmla="*/ 2433102 h 3945571"/>
              <a:gd name="connsiteX15" fmla="*/ 5461353 w 5461353"/>
              <a:gd name="connsiteY15" fmla="*/ 2972330 h 3945571"/>
              <a:gd name="connsiteX16" fmla="*/ 5461353 w 5461353"/>
              <a:gd name="connsiteY16" fmla="*/ 3945571 h 3945571"/>
              <a:gd name="connsiteX17" fmla="*/ 5461353 w 5461353"/>
              <a:gd name="connsiteY17" fmla="*/ 3945571 h 3945571"/>
              <a:gd name="connsiteX18" fmla="*/ 4887911 w 5461353"/>
              <a:gd name="connsiteY18" fmla="*/ 3945571 h 3945571"/>
              <a:gd name="connsiteX19" fmla="*/ 4205242 w 5461353"/>
              <a:gd name="connsiteY19" fmla="*/ 3945571 h 3945571"/>
              <a:gd name="connsiteX20" fmla="*/ 3577186 w 5461353"/>
              <a:gd name="connsiteY20" fmla="*/ 3945571 h 3945571"/>
              <a:gd name="connsiteX21" fmla="*/ 3058358 w 5461353"/>
              <a:gd name="connsiteY21" fmla="*/ 3945571 h 3945571"/>
              <a:gd name="connsiteX22" fmla="*/ 2430302 w 5461353"/>
              <a:gd name="connsiteY22" fmla="*/ 3945571 h 3945571"/>
              <a:gd name="connsiteX23" fmla="*/ 1693019 w 5461353"/>
              <a:gd name="connsiteY23" fmla="*/ 3945571 h 3945571"/>
              <a:gd name="connsiteX24" fmla="*/ 1010350 w 5461353"/>
              <a:gd name="connsiteY24" fmla="*/ 3945571 h 3945571"/>
              <a:gd name="connsiteX25" fmla="*/ 0 w 5461353"/>
              <a:gd name="connsiteY25" fmla="*/ 3945571 h 3945571"/>
              <a:gd name="connsiteX26" fmla="*/ 0 w 5461353"/>
              <a:gd name="connsiteY26" fmla="*/ 3945571 h 3945571"/>
              <a:gd name="connsiteX27" fmla="*/ 0 w 5461353"/>
              <a:gd name="connsiteY27" fmla="*/ 3406343 h 3945571"/>
              <a:gd name="connsiteX28" fmla="*/ 0 w 5461353"/>
              <a:gd name="connsiteY28" fmla="*/ 2827659 h 3945571"/>
              <a:gd name="connsiteX29" fmla="*/ 0 w 5461353"/>
              <a:gd name="connsiteY29" fmla="*/ 2130608 h 3945571"/>
              <a:gd name="connsiteX30" fmla="*/ 0 w 5461353"/>
              <a:gd name="connsiteY30" fmla="*/ 1591380 h 3945571"/>
              <a:gd name="connsiteX31" fmla="*/ 0 w 5461353"/>
              <a:gd name="connsiteY31" fmla="*/ 973241 h 3945571"/>
              <a:gd name="connsiteX32" fmla="*/ 0 w 5461353"/>
              <a:gd name="connsiteY32" fmla="*/ 0 h 394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40" name="Rectangle 39">
            <a:extLst>
              <a:ext uri="{FF2B5EF4-FFF2-40B4-BE49-F238E27FC236}">
                <a16:creationId xmlns:a16="http://schemas.microsoft.com/office/drawing/2014/main" id="{D36CB115-D5EF-3F9A-DCA7-BDD88ECC8879}"/>
              </a:ext>
            </a:extLst>
          </p:cNvPr>
          <p:cNvSpPr/>
          <p:nvPr/>
        </p:nvSpPr>
        <p:spPr>
          <a:xfrm>
            <a:off x="497186" y="2458819"/>
            <a:ext cx="5461357" cy="3727876"/>
          </a:xfrm>
          <a:custGeom>
            <a:avLst/>
            <a:gdLst>
              <a:gd name="connsiteX0" fmla="*/ 0 w 5461357"/>
              <a:gd name="connsiteY0" fmla="*/ 0 h 3727876"/>
              <a:gd name="connsiteX1" fmla="*/ 737283 w 5461357"/>
              <a:gd name="connsiteY1" fmla="*/ 0 h 3727876"/>
              <a:gd name="connsiteX2" fmla="*/ 1310726 w 5461357"/>
              <a:gd name="connsiteY2" fmla="*/ 0 h 3727876"/>
              <a:gd name="connsiteX3" fmla="*/ 2048009 w 5461357"/>
              <a:gd name="connsiteY3" fmla="*/ 0 h 3727876"/>
              <a:gd name="connsiteX4" fmla="*/ 2566838 w 5461357"/>
              <a:gd name="connsiteY4" fmla="*/ 0 h 3727876"/>
              <a:gd name="connsiteX5" fmla="*/ 3140280 w 5461357"/>
              <a:gd name="connsiteY5" fmla="*/ 0 h 3727876"/>
              <a:gd name="connsiteX6" fmla="*/ 3822950 w 5461357"/>
              <a:gd name="connsiteY6" fmla="*/ 0 h 3727876"/>
              <a:gd name="connsiteX7" fmla="*/ 4560233 w 5461357"/>
              <a:gd name="connsiteY7" fmla="*/ 0 h 3727876"/>
              <a:gd name="connsiteX8" fmla="*/ 5461357 w 5461357"/>
              <a:gd name="connsiteY8" fmla="*/ 0 h 3727876"/>
              <a:gd name="connsiteX9" fmla="*/ 5461357 w 5461357"/>
              <a:gd name="connsiteY9" fmla="*/ 584034 h 3727876"/>
              <a:gd name="connsiteX10" fmla="*/ 5461357 w 5461357"/>
              <a:gd name="connsiteY10" fmla="*/ 1093510 h 3727876"/>
              <a:gd name="connsiteX11" fmla="*/ 5461357 w 5461357"/>
              <a:gd name="connsiteY11" fmla="*/ 1677544 h 3727876"/>
              <a:gd name="connsiteX12" fmla="*/ 5461357 w 5461357"/>
              <a:gd name="connsiteY12" fmla="*/ 2261578 h 3727876"/>
              <a:gd name="connsiteX13" fmla="*/ 5461357 w 5461357"/>
              <a:gd name="connsiteY13" fmla="*/ 2920170 h 3727876"/>
              <a:gd name="connsiteX14" fmla="*/ 5461357 w 5461357"/>
              <a:gd name="connsiteY14" fmla="*/ 3727876 h 3727876"/>
              <a:gd name="connsiteX15" fmla="*/ 4833301 w 5461357"/>
              <a:gd name="connsiteY15" fmla="*/ 3727876 h 3727876"/>
              <a:gd name="connsiteX16" fmla="*/ 4205245 w 5461357"/>
              <a:gd name="connsiteY16" fmla="*/ 3727876 h 3727876"/>
              <a:gd name="connsiteX17" fmla="*/ 3686416 w 5461357"/>
              <a:gd name="connsiteY17" fmla="*/ 3727876 h 3727876"/>
              <a:gd name="connsiteX18" fmla="*/ 2949133 w 5461357"/>
              <a:gd name="connsiteY18" fmla="*/ 3727876 h 3727876"/>
              <a:gd name="connsiteX19" fmla="*/ 2430304 w 5461357"/>
              <a:gd name="connsiteY19" fmla="*/ 3727876 h 3727876"/>
              <a:gd name="connsiteX20" fmla="*/ 1911475 w 5461357"/>
              <a:gd name="connsiteY20" fmla="*/ 3727876 h 3727876"/>
              <a:gd name="connsiteX21" fmla="*/ 1338032 w 5461357"/>
              <a:gd name="connsiteY21" fmla="*/ 3727876 h 3727876"/>
              <a:gd name="connsiteX22" fmla="*/ 600749 w 5461357"/>
              <a:gd name="connsiteY22" fmla="*/ 3727876 h 3727876"/>
              <a:gd name="connsiteX23" fmla="*/ 0 w 5461357"/>
              <a:gd name="connsiteY23" fmla="*/ 3727876 h 3727876"/>
              <a:gd name="connsiteX24" fmla="*/ 0 w 5461357"/>
              <a:gd name="connsiteY24" fmla="*/ 3181121 h 3727876"/>
              <a:gd name="connsiteX25" fmla="*/ 0 w 5461357"/>
              <a:gd name="connsiteY25" fmla="*/ 2559808 h 3727876"/>
              <a:gd name="connsiteX26" fmla="*/ 0 w 5461357"/>
              <a:gd name="connsiteY26" fmla="*/ 2013053 h 3727876"/>
              <a:gd name="connsiteX27" fmla="*/ 0 w 5461357"/>
              <a:gd name="connsiteY27" fmla="*/ 1354462 h 3727876"/>
              <a:gd name="connsiteX28" fmla="*/ 0 w 5461357"/>
              <a:gd name="connsiteY28" fmla="*/ 807706 h 3727876"/>
              <a:gd name="connsiteX29" fmla="*/ 0 w 5461357"/>
              <a:gd name="connsiteY29" fmla="*/ 0 h 372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7" h="3727876" extrusionOk="0">
                <a:moveTo>
                  <a:pt x="0" y="0"/>
                </a:moveTo>
                <a:cubicBezTo>
                  <a:pt x="221377" y="1923"/>
                  <a:pt x="572438" y="17235"/>
                  <a:pt x="737283" y="0"/>
                </a:cubicBezTo>
                <a:cubicBezTo>
                  <a:pt x="902128" y="-17235"/>
                  <a:pt x="1125626" y="14026"/>
                  <a:pt x="1310726" y="0"/>
                </a:cubicBezTo>
                <a:cubicBezTo>
                  <a:pt x="1495826" y="-14026"/>
                  <a:pt x="1725249" y="-6567"/>
                  <a:pt x="2048009" y="0"/>
                </a:cubicBezTo>
                <a:cubicBezTo>
                  <a:pt x="2370769" y="6567"/>
                  <a:pt x="2359977" y="6564"/>
                  <a:pt x="2566838" y="0"/>
                </a:cubicBezTo>
                <a:cubicBezTo>
                  <a:pt x="2773699" y="-6564"/>
                  <a:pt x="2946872" y="7564"/>
                  <a:pt x="3140280" y="0"/>
                </a:cubicBezTo>
                <a:cubicBezTo>
                  <a:pt x="3333688" y="-7564"/>
                  <a:pt x="3555100" y="-22705"/>
                  <a:pt x="3822950" y="0"/>
                </a:cubicBezTo>
                <a:cubicBezTo>
                  <a:pt x="4090800" y="22705"/>
                  <a:pt x="4222932" y="6027"/>
                  <a:pt x="4560233" y="0"/>
                </a:cubicBezTo>
                <a:cubicBezTo>
                  <a:pt x="4897534" y="-6027"/>
                  <a:pt x="5075291" y="-43018"/>
                  <a:pt x="5461357" y="0"/>
                </a:cubicBezTo>
                <a:cubicBezTo>
                  <a:pt x="5458792" y="277702"/>
                  <a:pt x="5476372" y="451999"/>
                  <a:pt x="5461357" y="584034"/>
                </a:cubicBezTo>
                <a:cubicBezTo>
                  <a:pt x="5446342" y="716069"/>
                  <a:pt x="5483753" y="838796"/>
                  <a:pt x="5461357" y="1093510"/>
                </a:cubicBezTo>
                <a:cubicBezTo>
                  <a:pt x="5438961" y="1348224"/>
                  <a:pt x="5459305" y="1481336"/>
                  <a:pt x="5461357" y="1677544"/>
                </a:cubicBezTo>
                <a:cubicBezTo>
                  <a:pt x="5463409" y="1873752"/>
                  <a:pt x="5474180" y="2010482"/>
                  <a:pt x="5461357" y="2261578"/>
                </a:cubicBezTo>
                <a:cubicBezTo>
                  <a:pt x="5448534" y="2512674"/>
                  <a:pt x="5451867" y="2771972"/>
                  <a:pt x="5461357" y="2920170"/>
                </a:cubicBezTo>
                <a:cubicBezTo>
                  <a:pt x="5470847" y="3068368"/>
                  <a:pt x="5435989" y="3529702"/>
                  <a:pt x="5461357" y="3727876"/>
                </a:cubicBezTo>
                <a:cubicBezTo>
                  <a:pt x="5311884" y="3724724"/>
                  <a:pt x="5143048" y="3718476"/>
                  <a:pt x="4833301" y="3727876"/>
                </a:cubicBezTo>
                <a:cubicBezTo>
                  <a:pt x="4523554" y="3737276"/>
                  <a:pt x="4413921" y="3754723"/>
                  <a:pt x="4205245" y="3727876"/>
                </a:cubicBezTo>
                <a:cubicBezTo>
                  <a:pt x="3996569" y="3701029"/>
                  <a:pt x="3880588" y="3712139"/>
                  <a:pt x="3686416" y="3727876"/>
                </a:cubicBezTo>
                <a:cubicBezTo>
                  <a:pt x="3492244" y="3743613"/>
                  <a:pt x="3175418" y="3717278"/>
                  <a:pt x="2949133" y="3727876"/>
                </a:cubicBezTo>
                <a:cubicBezTo>
                  <a:pt x="2722848" y="3738474"/>
                  <a:pt x="2590122" y="3708410"/>
                  <a:pt x="2430304" y="3727876"/>
                </a:cubicBezTo>
                <a:cubicBezTo>
                  <a:pt x="2270486" y="3747342"/>
                  <a:pt x="2117863" y="3749189"/>
                  <a:pt x="1911475" y="3727876"/>
                </a:cubicBezTo>
                <a:cubicBezTo>
                  <a:pt x="1705087" y="3706563"/>
                  <a:pt x="1458049" y="3753756"/>
                  <a:pt x="1338032" y="3727876"/>
                </a:cubicBezTo>
                <a:cubicBezTo>
                  <a:pt x="1218015" y="3701996"/>
                  <a:pt x="807936" y="3756085"/>
                  <a:pt x="600749" y="3727876"/>
                </a:cubicBezTo>
                <a:cubicBezTo>
                  <a:pt x="393562" y="3699667"/>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noProof="0">
                <a:solidFill>
                  <a:schemeClr val="tx1"/>
                </a:solidFill>
                <a:latin typeface="Verdana" panose="020B0604030504040204" pitchFamily="34" charset="0"/>
                <a:ea typeface="Verdana" panose="020B0604030504040204" pitchFamily="34" charset="0"/>
                <a:cs typeface="Verdana" panose="020B0604030504040204" pitchFamily="34" charset="0"/>
              </a:rPr>
              <a:t>[Indikator]</a:t>
            </a:r>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da-DK" sz="1050" noProof="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descr="A green diamond with a white letter&#10;&#10;AI-generated content may be incorrect.">
            <a:extLst>
              <a:ext uri="{FF2B5EF4-FFF2-40B4-BE49-F238E27FC236}">
                <a16:creationId xmlns:a16="http://schemas.microsoft.com/office/drawing/2014/main" id="{3E4750DB-6465-2B40-0923-63B81A782145}"/>
              </a:ext>
            </a:extLst>
          </p:cNvPr>
          <p:cNvPicPr>
            <a:picLocks noChangeAspect="1"/>
          </p:cNvPicPr>
          <p:nvPr/>
        </p:nvPicPr>
        <p:blipFill>
          <a:blip r:embed="rId5"/>
          <a:stretch>
            <a:fillRect/>
          </a:stretch>
        </p:blipFill>
        <p:spPr>
          <a:xfrm>
            <a:off x="11131028" y="125623"/>
            <a:ext cx="563786" cy="632987"/>
          </a:xfrm>
          <a:prstGeom prst="rect">
            <a:avLst/>
          </a:prstGeom>
        </p:spPr>
      </p:pic>
      <p:sp>
        <p:nvSpPr>
          <p:cNvPr id="3" name="Rectangle: Rounded Corners 3">
            <a:extLst>
              <a:ext uri="{FF2B5EF4-FFF2-40B4-BE49-F238E27FC236}">
                <a16:creationId xmlns:a16="http://schemas.microsoft.com/office/drawing/2014/main" id="{63BFEA92-3754-69FC-C061-968727B592E3}"/>
              </a:ext>
            </a:extLst>
          </p:cNvPr>
          <p:cNvSpPr/>
          <p:nvPr/>
        </p:nvSpPr>
        <p:spPr>
          <a:xfrm>
            <a:off x="6514471" y="2754837"/>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dashboard]</a:t>
            </a:r>
          </a:p>
        </p:txBody>
      </p:sp>
      <p:sp>
        <p:nvSpPr>
          <p:cNvPr id="4" name="Rectangle: Rounded Corners 3">
            <a:extLst>
              <a:ext uri="{FF2B5EF4-FFF2-40B4-BE49-F238E27FC236}">
                <a16:creationId xmlns:a16="http://schemas.microsoft.com/office/drawing/2014/main" id="{2B9E0BCC-D319-4DD4-53C7-15C66A2AB777}"/>
              </a:ext>
            </a:extLst>
          </p:cNvPr>
          <p:cNvSpPr/>
          <p:nvPr/>
        </p:nvSpPr>
        <p:spPr>
          <a:xfrm>
            <a:off x="778200" y="2754837"/>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a:t>
            </a:r>
            <a:r>
              <a:rPr lang="da-DK" sz="1200" err="1">
                <a:solidFill>
                  <a:srgbClr val="005850"/>
                </a:solidFill>
                <a:latin typeface="Verdana" panose="020B0604030504040204" pitchFamily="34" charset="0"/>
                <a:ea typeface="Verdana" panose="020B0604030504040204" pitchFamily="34" charset="0"/>
              </a:rPr>
              <a:t>dashboard</a:t>
            </a:r>
            <a:r>
              <a:rPr lang="da-DK" sz="1200">
                <a:solidFill>
                  <a:srgbClr val="005850"/>
                </a:solidFill>
                <a:latin typeface="Verdana" panose="020B0604030504040204" pitchFamily="34" charset="0"/>
                <a:ea typeface="Verdana" panose="020B0604030504040204" pitchFamily="34" charset="0"/>
              </a:rPr>
              <a:t>]</a:t>
            </a:r>
          </a:p>
        </p:txBody>
      </p:sp>
    </p:spTree>
    <p:extLst>
      <p:ext uri="{BB962C8B-B14F-4D97-AF65-F5344CB8AC3E}">
        <p14:creationId xmlns:p14="http://schemas.microsoft.com/office/powerpoint/2010/main" val="1725314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DD895-5F12-BA78-029F-0A606DAE601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364F716-6056-37E9-CF84-EBE31B7C35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F364F716-6056-37E9-CF84-EBE31B7C35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7B2E2AE-DCCC-A9CE-B351-30A1FD68CA49}"/>
              </a:ext>
            </a:extLst>
          </p:cNvPr>
          <p:cNvSpPr>
            <a:spLocks noGrp="1"/>
          </p:cNvSpPr>
          <p:nvPr>
            <p:ph type="sldNum" sz="quarter" idx="12"/>
          </p:nvPr>
        </p:nvSpPr>
        <p:spPr/>
        <p:txBody>
          <a:bodyPr/>
          <a:lstStyle/>
          <a:p>
            <a:fld id="{D1CF6110-3358-3240-B3E6-2B2529506D05}" type="slidenum">
              <a:rPr lang="da-DK" smtClean="0"/>
              <a:t>15</a:t>
            </a:fld>
            <a:endParaRPr lang="da-DK"/>
          </a:p>
        </p:txBody>
      </p:sp>
      <p:sp>
        <p:nvSpPr>
          <p:cNvPr id="8" name="Rectangle 7">
            <a:extLst>
              <a:ext uri="{FF2B5EF4-FFF2-40B4-BE49-F238E27FC236}">
                <a16:creationId xmlns:a16="http://schemas.microsoft.com/office/drawing/2014/main" id="{65AE489B-BDE3-9736-6698-2A452FCCAB3B}"/>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 standarden, kan I blandt andet læse om hver indikator, hvor I finder info om værdien og relevansen for den pågældende indikator. Indsæt en indikator samt beskrivende tekst om, hvad data viser, hvad årsagen til udviklingen er, hvad jeres forventninger er til fremtidig udvikling, hvilke konkrete handlinger der er taget/tages på baggrund af indsigten i data mm.</a:t>
            </a:r>
          </a:p>
        </p:txBody>
      </p:sp>
      <p:sp>
        <p:nvSpPr>
          <p:cNvPr id="14" name="Title 1">
            <a:extLst>
              <a:ext uri="{FF2B5EF4-FFF2-40B4-BE49-F238E27FC236}">
                <a16:creationId xmlns:a16="http://schemas.microsoft.com/office/drawing/2014/main" id="{AD356443-A81E-E753-2C04-742F5E048E9C}"/>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DM Sans" pitchFamily="2" charset="77"/>
                <a:ea typeface="Verdana" panose="020B0604030504040204" pitchFamily="34" charset="0"/>
                <a:cs typeface="HelveticaNowDisplay Regular" panose="020B0504030202020204" pitchFamily="34" charset="77"/>
              </a:rPr>
              <a:t>[Navn på målepunkt 2]</a:t>
            </a:r>
            <a:endParaRPr lang="da-DK" sz="4000" dirty="0">
              <a:solidFill>
                <a:srgbClr val="005850"/>
              </a:solidFill>
              <a:latin typeface="DM Sans" pitchFamily="2" charset="0"/>
              <a:ea typeface="Verdana" panose="020B0604030504040204" pitchFamily="34" charset="0"/>
            </a:endParaRPr>
          </a:p>
        </p:txBody>
      </p:sp>
      <p:sp>
        <p:nvSpPr>
          <p:cNvPr id="36" name="Rectangle: Rounded Corners 35">
            <a:extLst>
              <a:ext uri="{FF2B5EF4-FFF2-40B4-BE49-F238E27FC236}">
                <a16:creationId xmlns:a16="http://schemas.microsoft.com/office/drawing/2014/main" id="{69371D76-583B-1071-3E6B-7969267A708A}"/>
              </a:ext>
            </a:extLst>
          </p:cNvPr>
          <p:cNvSpPr/>
          <p:nvPr/>
        </p:nvSpPr>
        <p:spPr>
          <a:xfrm>
            <a:off x="6233458" y="2388621"/>
            <a:ext cx="5461353" cy="3945571"/>
          </a:xfrm>
          <a:custGeom>
            <a:avLst/>
            <a:gdLst>
              <a:gd name="connsiteX0" fmla="*/ 0 w 5461353"/>
              <a:gd name="connsiteY0" fmla="*/ 0 h 3945571"/>
              <a:gd name="connsiteX1" fmla="*/ 0 w 5461353"/>
              <a:gd name="connsiteY1" fmla="*/ 0 h 3945571"/>
              <a:gd name="connsiteX2" fmla="*/ 791896 w 5461353"/>
              <a:gd name="connsiteY2" fmla="*/ 0 h 3945571"/>
              <a:gd name="connsiteX3" fmla="*/ 1419952 w 5461353"/>
              <a:gd name="connsiteY3" fmla="*/ 0 h 3945571"/>
              <a:gd name="connsiteX4" fmla="*/ 1993394 w 5461353"/>
              <a:gd name="connsiteY4" fmla="*/ 0 h 3945571"/>
              <a:gd name="connsiteX5" fmla="*/ 2512222 w 5461353"/>
              <a:gd name="connsiteY5" fmla="*/ 0 h 3945571"/>
              <a:gd name="connsiteX6" fmla="*/ 3194892 w 5461353"/>
              <a:gd name="connsiteY6" fmla="*/ 0 h 3945571"/>
              <a:gd name="connsiteX7" fmla="*/ 3768334 w 5461353"/>
              <a:gd name="connsiteY7" fmla="*/ 0 h 3945571"/>
              <a:gd name="connsiteX8" fmla="*/ 4505616 w 5461353"/>
              <a:gd name="connsiteY8" fmla="*/ 0 h 3945571"/>
              <a:gd name="connsiteX9" fmla="*/ 5461353 w 5461353"/>
              <a:gd name="connsiteY9" fmla="*/ 0 h 3945571"/>
              <a:gd name="connsiteX10" fmla="*/ 5461353 w 5461353"/>
              <a:gd name="connsiteY10" fmla="*/ 0 h 3945571"/>
              <a:gd name="connsiteX11" fmla="*/ 5461353 w 5461353"/>
              <a:gd name="connsiteY11" fmla="*/ 539228 h 3945571"/>
              <a:gd name="connsiteX12" fmla="*/ 5461353 w 5461353"/>
              <a:gd name="connsiteY12" fmla="*/ 1196823 h 3945571"/>
              <a:gd name="connsiteX13" fmla="*/ 5461353 w 5461353"/>
              <a:gd name="connsiteY13" fmla="*/ 1775507 h 3945571"/>
              <a:gd name="connsiteX14" fmla="*/ 5461353 w 5461353"/>
              <a:gd name="connsiteY14" fmla="*/ 2433102 h 3945571"/>
              <a:gd name="connsiteX15" fmla="*/ 5461353 w 5461353"/>
              <a:gd name="connsiteY15" fmla="*/ 2972330 h 3945571"/>
              <a:gd name="connsiteX16" fmla="*/ 5461353 w 5461353"/>
              <a:gd name="connsiteY16" fmla="*/ 3945571 h 3945571"/>
              <a:gd name="connsiteX17" fmla="*/ 5461353 w 5461353"/>
              <a:gd name="connsiteY17" fmla="*/ 3945571 h 3945571"/>
              <a:gd name="connsiteX18" fmla="*/ 4887911 w 5461353"/>
              <a:gd name="connsiteY18" fmla="*/ 3945571 h 3945571"/>
              <a:gd name="connsiteX19" fmla="*/ 4205242 w 5461353"/>
              <a:gd name="connsiteY19" fmla="*/ 3945571 h 3945571"/>
              <a:gd name="connsiteX20" fmla="*/ 3577186 w 5461353"/>
              <a:gd name="connsiteY20" fmla="*/ 3945571 h 3945571"/>
              <a:gd name="connsiteX21" fmla="*/ 3058358 w 5461353"/>
              <a:gd name="connsiteY21" fmla="*/ 3945571 h 3945571"/>
              <a:gd name="connsiteX22" fmla="*/ 2430302 w 5461353"/>
              <a:gd name="connsiteY22" fmla="*/ 3945571 h 3945571"/>
              <a:gd name="connsiteX23" fmla="*/ 1693019 w 5461353"/>
              <a:gd name="connsiteY23" fmla="*/ 3945571 h 3945571"/>
              <a:gd name="connsiteX24" fmla="*/ 1010350 w 5461353"/>
              <a:gd name="connsiteY24" fmla="*/ 3945571 h 3945571"/>
              <a:gd name="connsiteX25" fmla="*/ 0 w 5461353"/>
              <a:gd name="connsiteY25" fmla="*/ 3945571 h 3945571"/>
              <a:gd name="connsiteX26" fmla="*/ 0 w 5461353"/>
              <a:gd name="connsiteY26" fmla="*/ 3945571 h 3945571"/>
              <a:gd name="connsiteX27" fmla="*/ 0 w 5461353"/>
              <a:gd name="connsiteY27" fmla="*/ 3406343 h 3945571"/>
              <a:gd name="connsiteX28" fmla="*/ 0 w 5461353"/>
              <a:gd name="connsiteY28" fmla="*/ 2827659 h 3945571"/>
              <a:gd name="connsiteX29" fmla="*/ 0 w 5461353"/>
              <a:gd name="connsiteY29" fmla="*/ 2130608 h 3945571"/>
              <a:gd name="connsiteX30" fmla="*/ 0 w 5461353"/>
              <a:gd name="connsiteY30" fmla="*/ 1591380 h 3945571"/>
              <a:gd name="connsiteX31" fmla="*/ 0 w 5461353"/>
              <a:gd name="connsiteY31" fmla="*/ 973241 h 3945571"/>
              <a:gd name="connsiteX32" fmla="*/ 0 w 5461353"/>
              <a:gd name="connsiteY32" fmla="*/ 0 h 394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226EE88D-9123-F816-8A66-158F5E9DEF1E}"/>
              </a:ext>
            </a:extLst>
          </p:cNvPr>
          <p:cNvSpPr/>
          <p:nvPr/>
        </p:nvSpPr>
        <p:spPr>
          <a:xfrm>
            <a:off x="6233455" y="2458819"/>
            <a:ext cx="5461359" cy="3727876"/>
          </a:xfrm>
          <a:custGeom>
            <a:avLst/>
            <a:gdLst>
              <a:gd name="connsiteX0" fmla="*/ 0 w 5461359"/>
              <a:gd name="connsiteY0" fmla="*/ 0 h 3727876"/>
              <a:gd name="connsiteX1" fmla="*/ 737283 w 5461359"/>
              <a:gd name="connsiteY1" fmla="*/ 0 h 3727876"/>
              <a:gd name="connsiteX2" fmla="*/ 1310726 w 5461359"/>
              <a:gd name="connsiteY2" fmla="*/ 0 h 3727876"/>
              <a:gd name="connsiteX3" fmla="*/ 2048010 w 5461359"/>
              <a:gd name="connsiteY3" fmla="*/ 0 h 3727876"/>
              <a:gd name="connsiteX4" fmla="*/ 2566839 w 5461359"/>
              <a:gd name="connsiteY4" fmla="*/ 0 h 3727876"/>
              <a:gd name="connsiteX5" fmla="*/ 3140281 w 5461359"/>
              <a:gd name="connsiteY5" fmla="*/ 0 h 3727876"/>
              <a:gd name="connsiteX6" fmla="*/ 3822951 w 5461359"/>
              <a:gd name="connsiteY6" fmla="*/ 0 h 3727876"/>
              <a:gd name="connsiteX7" fmla="*/ 4560235 w 5461359"/>
              <a:gd name="connsiteY7" fmla="*/ 0 h 3727876"/>
              <a:gd name="connsiteX8" fmla="*/ 5461359 w 5461359"/>
              <a:gd name="connsiteY8" fmla="*/ 0 h 3727876"/>
              <a:gd name="connsiteX9" fmla="*/ 5461359 w 5461359"/>
              <a:gd name="connsiteY9" fmla="*/ 584034 h 3727876"/>
              <a:gd name="connsiteX10" fmla="*/ 5461359 w 5461359"/>
              <a:gd name="connsiteY10" fmla="*/ 1093510 h 3727876"/>
              <a:gd name="connsiteX11" fmla="*/ 5461359 w 5461359"/>
              <a:gd name="connsiteY11" fmla="*/ 1677544 h 3727876"/>
              <a:gd name="connsiteX12" fmla="*/ 5461359 w 5461359"/>
              <a:gd name="connsiteY12" fmla="*/ 2261578 h 3727876"/>
              <a:gd name="connsiteX13" fmla="*/ 5461359 w 5461359"/>
              <a:gd name="connsiteY13" fmla="*/ 2920170 h 3727876"/>
              <a:gd name="connsiteX14" fmla="*/ 5461359 w 5461359"/>
              <a:gd name="connsiteY14" fmla="*/ 3727876 h 3727876"/>
              <a:gd name="connsiteX15" fmla="*/ 4833303 w 5461359"/>
              <a:gd name="connsiteY15" fmla="*/ 3727876 h 3727876"/>
              <a:gd name="connsiteX16" fmla="*/ 4205246 w 5461359"/>
              <a:gd name="connsiteY16" fmla="*/ 3727876 h 3727876"/>
              <a:gd name="connsiteX17" fmla="*/ 3686417 w 5461359"/>
              <a:gd name="connsiteY17" fmla="*/ 3727876 h 3727876"/>
              <a:gd name="connsiteX18" fmla="*/ 2949134 w 5461359"/>
              <a:gd name="connsiteY18" fmla="*/ 3727876 h 3727876"/>
              <a:gd name="connsiteX19" fmla="*/ 2430305 w 5461359"/>
              <a:gd name="connsiteY19" fmla="*/ 3727876 h 3727876"/>
              <a:gd name="connsiteX20" fmla="*/ 1911476 w 5461359"/>
              <a:gd name="connsiteY20" fmla="*/ 3727876 h 3727876"/>
              <a:gd name="connsiteX21" fmla="*/ 1338033 w 5461359"/>
              <a:gd name="connsiteY21" fmla="*/ 3727876 h 3727876"/>
              <a:gd name="connsiteX22" fmla="*/ 600749 w 5461359"/>
              <a:gd name="connsiteY22" fmla="*/ 3727876 h 3727876"/>
              <a:gd name="connsiteX23" fmla="*/ 0 w 5461359"/>
              <a:gd name="connsiteY23" fmla="*/ 3727876 h 3727876"/>
              <a:gd name="connsiteX24" fmla="*/ 0 w 5461359"/>
              <a:gd name="connsiteY24" fmla="*/ 3181121 h 3727876"/>
              <a:gd name="connsiteX25" fmla="*/ 0 w 5461359"/>
              <a:gd name="connsiteY25" fmla="*/ 2559808 h 3727876"/>
              <a:gd name="connsiteX26" fmla="*/ 0 w 5461359"/>
              <a:gd name="connsiteY26" fmla="*/ 2013053 h 3727876"/>
              <a:gd name="connsiteX27" fmla="*/ 0 w 5461359"/>
              <a:gd name="connsiteY27" fmla="*/ 1354462 h 3727876"/>
              <a:gd name="connsiteX28" fmla="*/ 0 w 5461359"/>
              <a:gd name="connsiteY28" fmla="*/ 807706 h 3727876"/>
              <a:gd name="connsiteX29" fmla="*/ 0 w 5461359"/>
              <a:gd name="connsiteY29" fmla="*/ 0 h 372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9" h="37278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58794" y="277702"/>
                  <a:pt x="5476374" y="451999"/>
                  <a:pt x="5461359" y="584034"/>
                </a:cubicBezTo>
                <a:cubicBezTo>
                  <a:pt x="5446344" y="716069"/>
                  <a:pt x="5483755" y="838796"/>
                  <a:pt x="5461359" y="1093510"/>
                </a:cubicBezTo>
                <a:cubicBezTo>
                  <a:pt x="5438963" y="1348224"/>
                  <a:pt x="5459307" y="1481336"/>
                  <a:pt x="5461359" y="1677544"/>
                </a:cubicBezTo>
                <a:cubicBezTo>
                  <a:pt x="5463411" y="1873752"/>
                  <a:pt x="5474182" y="2010482"/>
                  <a:pt x="5461359" y="2261578"/>
                </a:cubicBezTo>
                <a:cubicBezTo>
                  <a:pt x="5448536" y="2512674"/>
                  <a:pt x="5451869" y="2771972"/>
                  <a:pt x="5461359" y="2920170"/>
                </a:cubicBezTo>
                <a:cubicBezTo>
                  <a:pt x="5470849" y="3068368"/>
                  <a:pt x="5435991" y="3529702"/>
                  <a:pt x="5461359" y="3727876"/>
                </a:cubicBezTo>
                <a:cubicBezTo>
                  <a:pt x="5311886" y="3724724"/>
                  <a:pt x="5143050" y="3718476"/>
                  <a:pt x="4833303" y="3727876"/>
                </a:cubicBezTo>
                <a:cubicBezTo>
                  <a:pt x="4523556" y="3737276"/>
                  <a:pt x="4417068" y="3696834"/>
                  <a:pt x="4205246" y="3727876"/>
                </a:cubicBezTo>
                <a:cubicBezTo>
                  <a:pt x="3993424" y="3758918"/>
                  <a:pt x="3880589" y="3712139"/>
                  <a:pt x="3686417" y="3727876"/>
                </a:cubicBezTo>
                <a:cubicBezTo>
                  <a:pt x="3492245" y="3743613"/>
                  <a:pt x="3175419" y="3717278"/>
                  <a:pt x="2949134" y="3727876"/>
                </a:cubicBezTo>
                <a:cubicBezTo>
                  <a:pt x="2722849" y="3738474"/>
                  <a:pt x="2590123" y="3708410"/>
                  <a:pt x="2430305" y="3727876"/>
                </a:cubicBezTo>
                <a:cubicBezTo>
                  <a:pt x="2270487" y="3747342"/>
                  <a:pt x="2117864" y="3749189"/>
                  <a:pt x="1911476" y="3727876"/>
                </a:cubicBezTo>
                <a:cubicBezTo>
                  <a:pt x="1705088" y="3706563"/>
                  <a:pt x="1458050" y="3753756"/>
                  <a:pt x="1338033" y="3727876"/>
                </a:cubicBezTo>
                <a:cubicBezTo>
                  <a:pt x="1218016" y="3701996"/>
                  <a:pt x="809455" y="3757903"/>
                  <a:pt x="600749" y="3727876"/>
                </a:cubicBezTo>
                <a:cubicBezTo>
                  <a:pt x="392043" y="3697849"/>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9" name="Rectangle: Rounded Corners 38">
            <a:extLst>
              <a:ext uri="{FF2B5EF4-FFF2-40B4-BE49-F238E27FC236}">
                <a16:creationId xmlns:a16="http://schemas.microsoft.com/office/drawing/2014/main" id="{3EE844BF-ADB7-D28C-E68F-0712D6B48813}"/>
              </a:ext>
            </a:extLst>
          </p:cNvPr>
          <p:cNvSpPr/>
          <p:nvPr/>
        </p:nvSpPr>
        <p:spPr>
          <a:xfrm>
            <a:off x="497187" y="2388621"/>
            <a:ext cx="5461353" cy="3945571"/>
          </a:xfrm>
          <a:custGeom>
            <a:avLst/>
            <a:gdLst>
              <a:gd name="connsiteX0" fmla="*/ 0 w 5461353"/>
              <a:gd name="connsiteY0" fmla="*/ 0 h 3945571"/>
              <a:gd name="connsiteX1" fmla="*/ 0 w 5461353"/>
              <a:gd name="connsiteY1" fmla="*/ 0 h 3945571"/>
              <a:gd name="connsiteX2" fmla="*/ 791896 w 5461353"/>
              <a:gd name="connsiteY2" fmla="*/ 0 h 3945571"/>
              <a:gd name="connsiteX3" fmla="*/ 1419952 w 5461353"/>
              <a:gd name="connsiteY3" fmla="*/ 0 h 3945571"/>
              <a:gd name="connsiteX4" fmla="*/ 1993394 w 5461353"/>
              <a:gd name="connsiteY4" fmla="*/ 0 h 3945571"/>
              <a:gd name="connsiteX5" fmla="*/ 2512222 w 5461353"/>
              <a:gd name="connsiteY5" fmla="*/ 0 h 3945571"/>
              <a:gd name="connsiteX6" fmla="*/ 3194892 w 5461353"/>
              <a:gd name="connsiteY6" fmla="*/ 0 h 3945571"/>
              <a:gd name="connsiteX7" fmla="*/ 3768334 w 5461353"/>
              <a:gd name="connsiteY7" fmla="*/ 0 h 3945571"/>
              <a:gd name="connsiteX8" fmla="*/ 4505616 w 5461353"/>
              <a:gd name="connsiteY8" fmla="*/ 0 h 3945571"/>
              <a:gd name="connsiteX9" fmla="*/ 5461353 w 5461353"/>
              <a:gd name="connsiteY9" fmla="*/ 0 h 3945571"/>
              <a:gd name="connsiteX10" fmla="*/ 5461353 w 5461353"/>
              <a:gd name="connsiteY10" fmla="*/ 0 h 3945571"/>
              <a:gd name="connsiteX11" fmla="*/ 5461353 w 5461353"/>
              <a:gd name="connsiteY11" fmla="*/ 539228 h 3945571"/>
              <a:gd name="connsiteX12" fmla="*/ 5461353 w 5461353"/>
              <a:gd name="connsiteY12" fmla="*/ 1196823 h 3945571"/>
              <a:gd name="connsiteX13" fmla="*/ 5461353 w 5461353"/>
              <a:gd name="connsiteY13" fmla="*/ 1775507 h 3945571"/>
              <a:gd name="connsiteX14" fmla="*/ 5461353 w 5461353"/>
              <a:gd name="connsiteY14" fmla="*/ 2433102 h 3945571"/>
              <a:gd name="connsiteX15" fmla="*/ 5461353 w 5461353"/>
              <a:gd name="connsiteY15" fmla="*/ 2972330 h 3945571"/>
              <a:gd name="connsiteX16" fmla="*/ 5461353 w 5461353"/>
              <a:gd name="connsiteY16" fmla="*/ 3945571 h 3945571"/>
              <a:gd name="connsiteX17" fmla="*/ 5461353 w 5461353"/>
              <a:gd name="connsiteY17" fmla="*/ 3945571 h 3945571"/>
              <a:gd name="connsiteX18" fmla="*/ 4887911 w 5461353"/>
              <a:gd name="connsiteY18" fmla="*/ 3945571 h 3945571"/>
              <a:gd name="connsiteX19" fmla="*/ 4205242 w 5461353"/>
              <a:gd name="connsiteY19" fmla="*/ 3945571 h 3945571"/>
              <a:gd name="connsiteX20" fmla="*/ 3577186 w 5461353"/>
              <a:gd name="connsiteY20" fmla="*/ 3945571 h 3945571"/>
              <a:gd name="connsiteX21" fmla="*/ 3058358 w 5461353"/>
              <a:gd name="connsiteY21" fmla="*/ 3945571 h 3945571"/>
              <a:gd name="connsiteX22" fmla="*/ 2430302 w 5461353"/>
              <a:gd name="connsiteY22" fmla="*/ 3945571 h 3945571"/>
              <a:gd name="connsiteX23" fmla="*/ 1693019 w 5461353"/>
              <a:gd name="connsiteY23" fmla="*/ 3945571 h 3945571"/>
              <a:gd name="connsiteX24" fmla="*/ 1010350 w 5461353"/>
              <a:gd name="connsiteY24" fmla="*/ 3945571 h 3945571"/>
              <a:gd name="connsiteX25" fmla="*/ 0 w 5461353"/>
              <a:gd name="connsiteY25" fmla="*/ 3945571 h 3945571"/>
              <a:gd name="connsiteX26" fmla="*/ 0 w 5461353"/>
              <a:gd name="connsiteY26" fmla="*/ 3945571 h 3945571"/>
              <a:gd name="connsiteX27" fmla="*/ 0 w 5461353"/>
              <a:gd name="connsiteY27" fmla="*/ 3406343 h 3945571"/>
              <a:gd name="connsiteX28" fmla="*/ 0 w 5461353"/>
              <a:gd name="connsiteY28" fmla="*/ 2827659 h 3945571"/>
              <a:gd name="connsiteX29" fmla="*/ 0 w 5461353"/>
              <a:gd name="connsiteY29" fmla="*/ 2130608 h 3945571"/>
              <a:gd name="connsiteX30" fmla="*/ 0 w 5461353"/>
              <a:gd name="connsiteY30" fmla="*/ 1591380 h 3945571"/>
              <a:gd name="connsiteX31" fmla="*/ 0 w 5461353"/>
              <a:gd name="connsiteY31" fmla="*/ 973241 h 3945571"/>
              <a:gd name="connsiteX32" fmla="*/ 0 w 5461353"/>
              <a:gd name="connsiteY32" fmla="*/ 0 h 394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40" name="Rectangle 39">
            <a:extLst>
              <a:ext uri="{FF2B5EF4-FFF2-40B4-BE49-F238E27FC236}">
                <a16:creationId xmlns:a16="http://schemas.microsoft.com/office/drawing/2014/main" id="{CAB6D3E1-F0B1-9559-0661-A5A7FCA0BD1C}"/>
              </a:ext>
            </a:extLst>
          </p:cNvPr>
          <p:cNvSpPr/>
          <p:nvPr/>
        </p:nvSpPr>
        <p:spPr>
          <a:xfrm>
            <a:off x="497186" y="2458819"/>
            <a:ext cx="5461357" cy="3727876"/>
          </a:xfrm>
          <a:custGeom>
            <a:avLst/>
            <a:gdLst>
              <a:gd name="connsiteX0" fmla="*/ 0 w 5461357"/>
              <a:gd name="connsiteY0" fmla="*/ 0 h 3727876"/>
              <a:gd name="connsiteX1" fmla="*/ 737283 w 5461357"/>
              <a:gd name="connsiteY1" fmla="*/ 0 h 3727876"/>
              <a:gd name="connsiteX2" fmla="*/ 1310726 w 5461357"/>
              <a:gd name="connsiteY2" fmla="*/ 0 h 3727876"/>
              <a:gd name="connsiteX3" fmla="*/ 2048009 w 5461357"/>
              <a:gd name="connsiteY3" fmla="*/ 0 h 3727876"/>
              <a:gd name="connsiteX4" fmla="*/ 2566838 w 5461357"/>
              <a:gd name="connsiteY4" fmla="*/ 0 h 3727876"/>
              <a:gd name="connsiteX5" fmla="*/ 3140280 w 5461357"/>
              <a:gd name="connsiteY5" fmla="*/ 0 h 3727876"/>
              <a:gd name="connsiteX6" fmla="*/ 3822950 w 5461357"/>
              <a:gd name="connsiteY6" fmla="*/ 0 h 3727876"/>
              <a:gd name="connsiteX7" fmla="*/ 4560233 w 5461357"/>
              <a:gd name="connsiteY7" fmla="*/ 0 h 3727876"/>
              <a:gd name="connsiteX8" fmla="*/ 5461357 w 5461357"/>
              <a:gd name="connsiteY8" fmla="*/ 0 h 3727876"/>
              <a:gd name="connsiteX9" fmla="*/ 5461357 w 5461357"/>
              <a:gd name="connsiteY9" fmla="*/ 584034 h 3727876"/>
              <a:gd name="connsiteX10" fmla="*/ 5461357 w 5461357"/>
              <a:gd name="connsiteY10" fmla="*/ 1093510 h 3727876"/>
              <a:gd name="connsiteX11" fmla="*/ 5461357 w 5461357"/>
              <a:gd name="connsiteY11" fmla="*/ 1677544 h 3727876"/>
              <a:gd name="connsiteX12" fmla="*/ 5461357 w 5461357"/>
              <a:gd name="connsiteY12" fmla="*/ 2261578 h 3727876"/>
              <a:gd name="connsiteX13" fmla="*/ 5461357 w 5461357"/>
              <a:gd name="connsiteY13" fmla="*/ 2920170 h 3727876"/>
              <a:gd name="connsiteX14" fmla="*/ 5461357 w 5461357"/>
              <a:gd name="connsiteY14" fmla="*/ 3727876 h 3727876"/>
              <a:gd name="connsiteX15" fmla="*/ 4833301 w 5461357"/>
              <a:gd name="connsiteY15" fmla="*/ 3727876 h 3727876"/>
              <a:gd name="connsiteX16" fmla="*/ 4205245 w 5461357"/>
              <a:gd name="connsiteY16" fmla="*/ 3727876 h 3727876"/>
              <a:gd name="connsiteX17" fmla="*/ 3686416 w 5461357"/>
              <a:gd name="connsiteY17" fmla="*/ 3727876 h 3727876"/>
              <a:gd name="connsiteX18" fmla="*/ 2949133 w 5461357"/>
              <a:gd name="connsiteY18" fmla="*/ 3727876 h 3727876"/>
              <a:gd name="connsiteX19" fmla="*/ 2430304 w 5461357"/>
              <a:gd name="connsiteY19" fmla="*/ 3727876 h 3727876"/>
              <a:gd name="connsiteX20" fmla="*/ 1911475 w 5461357"/>
              <a:gd name="connsiteY20" fmla="*/ 3727876 h 3727876"/>
              <a:gd name="connsiteX21" fmla="*/ 1338032 w 5461357"/>
              <a:gd name="connsiteY21" fmla="*/ 3727876 h 3727876"/>
              <a:gd name="connsiteX22" fmla="*/ 600749 w 5461357"/>
              <a:gd name="connsiteY22" fmla="*/ 3727876 h 3727876"/>
              <a:gd name="connsiteX23" fmla="*/ 0 w 5461357"/>
              <a:gd name="connsiteY23" fmla="*/ 3727876 h 3727876"/>
              <a:gd name="connsiteX24" fmla="*/ 0 w 5461357"/>
              <a:gd name="connsiteY24" fmla="*/ 3181121 h 3727876"/>
              <a:gd name="connsiteX25" fmla="*/ 0 w 5461357"/>
              <a:gd name="connsiteY25" fmla="*/ 2559808 h 3727876"/>
              <a:gd name="connsiteX26" fmla="*/ 0 w 5461357"/>
              <a:gd name="connsiteY26" fmla="*/ 2013053 h 3727876"/>
              <a:gd name="connsiteX27" fmla="*/ 0 w 5461357"/>
              <a:gd name="connsiteY27" fmla="*/ 1354462 h 3727876"/>
              <a:gd name="connsiteX28" fmla="*/ 0 w 5461357"/>
              <a:gd name="connsiteY28" fmla="*/ 807706 h 3727876"/>
              <a:gd name="connsiteX29" fmla="*/ 0 w 5461357"/>
              <a:gd name="connsiteY29" fmla="*/ 0 h 372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7" h="3727876" extrusionOk="0">
                <a:moveTo>
                  <a:pt x="0" y="0"/>
                </a:moveTo>
                <a:cubicBezTo>
                  <a:pt x="221377" y="1923"/>
                  <a:pt x="572438" y="17235"/>
                  <a:pt x="737283" y="0"/>
                </a:cubicBezTo>
                <a:cubicBezTo>
                  <a:pt x="902128" y="-17235"/>
                  <a:pt x="1125626" y="14026"/>
                  <a:pt x="1310726" y="0"/>
                </a:cubicBezTo>
                <a:cubicBezTo>
                  <a:pt x="1495826" y="-14026"/>
                  <a:pt x="1725249" y="-6567"/>
                  <a:pt x="2048009" y="0"/>
                </a:cubicBezTo>
                <a:cubicBezTo>
                  <a:pt x="2370769" y="6567"/>
                  <a:pt x="2359977" y="6564"/>
                  <a:pt x="2566838" y="0"/>
                </a:cubicBezTo>
                <a:cubicBezTo>
                  <a:pt x="2773699" y="-6564"/>
                  <a:pt x="2946872" y="7564"/>
                  <a:pt x="3140280" y="0"/>
                </a:cubicBezTo>
                <a:cubicBezTo>
                  <a:pt x="3333688" y="-7564"/>
                  <a:pt x="3555100" y="-22705"/>
                  <a:pt x="3822950" y="0"/>
                </a:cubicBezTo>
                <a:cubicBezTo>
                  <a:pt x="4090800" y="22705"/>
                  <a:pt x="4222932" y="6027"/>
                  <a:pt x="4560233" y="0"/>
                </a:cubicBezTo>
                <a:cubicBezTo>
                  <a:pt x="4897534" y="-6027"/>
                  <a:pt x="5075291" y="-43018"/>
                  <a:pt x="5461357" y="0"/>
                </a:cubicBezTo>
                <a:cubicBezTo>
                  <a:pt x="5458792" y="277702"/>
                  <a:pt x="5476372" y="451999"/>
                  <a:pt x="5461357" y="584034"/>
                </a:cubicBezTo>
                <a:cubicBezTo>
                  <a:pt x="5446342" y="716069"/>
                  <a:pt x="5483753" y="838796"/>
                  <a:pt x="5461357" y="1093510"/>
                </a:cubicBezTo>
                <a:cubicBezTo>
                  <a:pt x="5438961" y="1348224"/>
                  <a:pt x="5459305" y="1481336"/>
                  <a:pt x="5461357" y="1677544"/>
                </a:cubicBezTo>
                <a:cubicBezTo>
                  <a:pt x="5463409" y="1873752"/>
                  <a:pt x="5474180" y="2010482"/>
                  <a:pt x="5461357" y="2261578"/>
                </a:cubicBezTo>
                <a:cubicBezTo>
                  <a:pt x="5448534" y="2512674"/>
                  <a:pt x="5451867" y="2771972"/>
                  <a:pt x="5461357" y="2920170"/>
                </a:cubicBezTo>
                <a:cubicBezTo>
                  <a:pt x="5470847" y="3068368"/>
                  <a:pt x="5435989" y="3529702"/>
                  <a:pt x="5461357" y="3727876"/>
                </a:cubicBezTo>
                <a:cubicBezTo>
                  <a:pt x="5311884" y="3724724"/>
                  <a:pt x="5143048" y="3718476"/>
                  <a:pt x="4833301" y="3727876"/>
                </a:cubicBezTo>
                <a:cubicBezTo>
                  <a:pt x="4523554" y="3737276"/>
                  <a:pt x="4413921" y="3754723"/>
                  <a:pt x="4205245" y="3727876"/>
                </a:cubicBezTo>
                <a:cubicBezTo>
                  <a:pt x="3996569" y="3701029"/>
                  <a:pt x="3880588" y="3712139"/>
                  <a:pt x="3686416" y="3727876"/>
                </a:cubicBezTo>
                <a:cubicBezTo>
                  <a:pt x="3492244" y="3743613"/>
                  <a:pt x="3175418" y="3717278"/>
                  <a:pt x="2949133" y="3727876"/>
                </a:cubicBezTo>
                <a:cubicBezTo>
                  <a:pt x="2722848" y="3738474"/>
                  <a:pt x="2590122" y="3708410"/>
                  <a:pt x="2430304" y="3727876"/>
                </a:cubicBezTo>
                <a:cubicBezTo>
                  <a:pt x="2270486" y="3747342"/>
                  <a:pt x="2117863" y="3749189"/>
                  <a:pt x="1911475" y="3727876"/>
                </a:cubicBezTo>
                <a:cubicBezTo>
                  <a:pt x="1705087" y="3706563"/>
                  <a:pt x="1458049" y="3753756"/>
                  <a:pt x="1338032" y="3727876"/>
                </a:cubicBezTo>
                <a:cubicBezTo>
                  <a:pt x="1218015" y="3701996"/>
                  <a:pt x="807936" y="3756085"/>
                  <a:pt x="600749" y="3727876"/>
                </a:cubicBezTo>
                <a:cubicBezTo>
                  <a:pt x="393562" y="3699667"/>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noProof="0">
                <a:solidFill>
                  <a:schemeClr val="tx1"/>
                </a:solidFill>
                <a:latin typeface="Verdana" panose="020B0604030504040204" pitchFamily="34" charset="0"/>
                <a:ea typeface="Verdana" panose="020B0604030504040204" pitchFamily="34" charset="0"/>
                <a:cs typeface="Verdana" panose="020B0604030504040204" pitchFamily="34" charset="0"/>
              </a:rPr>
              <a:t>[Indikator]</a:t>
            </a:r>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da-DK" sz="1050" noProof="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descr="A green diamond with a white letter&#10;&#10;AI-generated content may be incorrect.">
            <a:extLst>
              <a:ext uri="{FF2B5EF4-FFF2-40B4-BE49-F238E27FC236}">
                <a16:creationId xmlns:a16="http://schemas.microsoft.com/office/drawing/2014/main" id="{58244BF7-2864-D248-5D0A-36BA736760B1}"/>
              </a:ext>
            </a:extLst>
          </p:cNvPr>
          <p:cNvPicPr>
            <a:picLocks noChangeAspect="1"/>
          </p:cNvPicPr>
          <p:nvPr/>
        </p:nvPicPr>
        <p:blipFill>
          <a:blip r:embed="rId5"/>
          <a:stretch>
            <a:fillRect/>
          </a:stretch>
        </p:blipFill>
        <p:spPr>
          <a:xfrm>
            <a:off x="11131028" y="125623"/>
            <a:ext cx="563786" cy="632987"/>
          </a:xfrm>
          <a:prstGeom prst="rect">
            <a:avLst/>
          </a:prstGeom>
        </p:spPr>
      </p:pic>
      <p:sp>
        <p:nvSpPr>
          <p:cNvPr id="3" name="Rectangle: Rounded Corners 3">
            <a:extLst>
              <a:ext uri="{FF2B5EF4-FFF2-40B4-BE49-F238E27FC236}">
                <a16:creationId xmlns:a16="http://schemas.microsoft.com/office/drawing/2014/main" id="{30C9B580-06C4-2756-CAE2-DB10F71103E9}"/>
              </a:ext>
            </a:extLst>
          </p:cNvPr>
          <p:cNvSpPr/>
          <p:nvPr/>
        </p:nvSpPr>
        <p:spPr>
          <a:xfrm>
            <a:off x="6514471" y="2754837"/>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dashboard]</a:t>
            </a:r>
          </a:p>
        </p:txBody>
      </p:sp>
      <p:sp>
        <p:nvSpPr>
          <p:cNvPr id="4" name="Rectangle: Rounded Corners 3">
            <a:extLst>
              <a:ext uri="{FF2B5EF4-FFF2-40B4-BE49-F238E27FC236}">
                <a16:creationId xmlns:a16="http://schemas.microsoft.com/office/drawing/2014/main" id="{FE0C95FD-5ECC-D8CF-4A02-DE28D840316A}"/>
              </a:ext>
            </a:extLst>
          </p:cNvPr>
          <p:cNvSpPr/>
          <p:nvPr/>
        </p:nvSpPr>
        <p:spPr>
          <a:xfrm>
            <a:off x="778200" y="2754837"/>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a:t>
            </a:r>
            <a:r>
              <a:rPr lang="da-DK" sz="1200" err="1">
                <a:solidFill>
                  <a:srgbClr val="005850"/>
                </a:solidFill>
                <a:latin typeface="Verdana" panose="020B0604030504040204" pitchFamily="34" charset="0"/>
                <a:ea typeface="Verdana" panose="020B0604030504040204" pitchFamily="34" charset="0"/>
              </a:rPr>
              <a:t>dashboard</a:t>
            </a:r>
            <a:r>
              <a:rPr lang="da-DK" sz="1200">
                <a:solidFill>
                  <a:srgbClr val="005850"/>
                </a:solidFill>
                <a:latin typeface="Verdana" panose="020B0604030504040204" pitchFamily="34" charset="0"/>
                <a:ea typeface="Verdana" panose="020B0604030504040204" pitchFamily="34" charset="0"/>
              </a:rPr>
              <a:t>]</a:t>
            </a:r>
          </a:p>
        </p:txBody>
      </p:sp>
    </p:spTree>
    <p:extLst>
      <p:ext uri="{BB962C8B-B14F-4D97-AF65-F5344CB8AC3E}">
        <p14:creationId xmlns:p14="http://schemas.microsoft.com/office/powerpoint/2010/main" val="3527502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86C2F-E23E-861A-6F65-C36D07357ED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1566C8D-1B9F-5282-02AF-BD91EFE1D3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B1566C8D-1B9F-5282-02AF-BD91EFE1D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1E35946B-90B6-57F0-0ED6-4EFE44E3E3B0}"/>
              </a:ext>
            </a:extLst>
          </p:cNvPr>
          <p:cNvSpPr>
            <a:spLocks noGrp="1"/>
          </p:cNvSpPr>
          <p:nvPr>
            <p:ph type="sldNum" sz="quarter" idx="12"/>
          </p:nvPr>
        </p:nvSpPr>
        <p:spPr/>
        <p:txBody>
          <a:bodyPr/>
          <a:lstStyle/>
          <a:p>
            <a:fld id="{D1CF6110-3358-3240-B3E6-2B2529506D05}" type="slidenum">
              <a:rPr lang="da-DK" smtClean="0"/>
              <a:t>16</a:t>
            </a:fld>
            <a:endParaRPr lang="da-DK"/>
          </a:p>
        </p:txBody>
      </p:sp>
      <p:sp>
        <p:nvSpPr>
          <p:cNvPr id="8" name="Rectangle 7">
            <a:extLst>
              <a:ext uri="{FF2B5EF4-FFF2-40B4-BE49-F238E27FC236}">
                <a16:creationId xmlns:a16="http://schemas.microsoft.com/office/drawing/2014/main" id="{5E14A018-0505-1D34-C79F-A7E84F77504D}"/>
              </a:ext>
            </a:extLst>
          </p:cNvPr>
          <p:cNvSpPr/>
          <p:nvPr/>
        </p:nvSpPr>
        <p:spPr>
          <a:xfrm>
            <a:off x="522889" y="1747168"/>
            <a:ext cx="5146391" cy="19807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a:t>
            </a:r>
          </a:p>
        </p:txBody>
      </p:sp>
      <p:sp>
        <p:nvSpPr>
          <p:cNvPr id="14" name="Title 1">
            <a:extLst>
              <a:ext uri="{FF2B5EF4-FFF2-40B4-BE49-F238E27FC236}">
                <a16:creationId xmlns:a16="http://schemas.microsoft.com/office/drawing/2014/main" id="{3B63E846-05B0-1F46-85E9-036C53B29ACE}"/>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DM Sans" pitchFamily="2" charset="77"/>
                <a:ea typeface="Verdana" panose="020B0604030504040204" pitchFamily="34" charset="0"/>
                <a:cs typeface="HelveticaNowDisplay Regular" panose="020B0504030202020204" pitchFamily="34" charset="77"/>
              </a:rPr>
              <a:t>[Navn på målepunkt 2]</a:t>
            </a:r>
            <a:endParaRPr lang="da-DK" sz="4000" dirty="0">
              <a:solidFill>
                <a:srgbClr val="005850"/>
              </a:solidFill>
              <a:latin typeface="DM Sans" pitchFamily="2" charset="0"/>
              <a:ea typeface="Verdana" panose="020B0604030504040204" pitchFamily="34" charset="0"/>
            </a:endParaRPr>
          </a:p>
        </p:txBody>
      </p:sp>
      <p:sp>
        <p:nvSpPr>
          <p:cNvPr id="36" name="Rectangle: Rounded Corners 35">
            <a:extLst>
              <a:ext uri="{FF2B5EF4-FFF2-40B4-BE49-F238E27FC236}">
                <a16:creationId xmlns:a16="http://schemas.microsoft.com/office/drawing/2014/main" id="{B34E4220-B4C0-AC9E-11A3-EC0BF94A6A4B}"/>
              </a:ext>
            </a:extLst>
          </p:cNvPr>
          <p:cNvSpPr/>
          <p:nvPr/>
        </p:nvSpPr>
        <p:spPr>
          <a:xfrm>
            <a:off x="6233458" y="758611"/>
            <a:ext cx="5461353" cy="5575582"/>
          </a:xfrm>
          <a:custGeom>
            <a:avLst/>
            <a:gdLst>
              <a:gd name="connsiteX0" fmla="*/ 0 w 5461353"/>
              <a:gd name="connsiteY0" fmla="*/ 0 h 5575582"/>
              <a:gd name="connsiteX1" fmla="*/ 0 w 5461353"/>
              <a:gd name="connsiteY1" fmla="*/ 0 h 5575582"/>
              <a:gd name="connsiteX2" fmla="*/ 737283 w 5461353"/>
              <a:gd name="connsiteY2" fmla="*/ 0 h 5575582"/>
              <a:gd name="connsiteX3" fmla="*/ 1310725 w 5461353"/>
              <a:gd name="connsiteY3" fmla="*/ 0 h 5575582"/>
              <a:gd name="connsiteX4" fmla="*/ 2048007 w 5461353"/>
              <a:gd name="connsiteY4" fmla="*/ 0 h 5575582"/>
              <a:gd name="connsiteX5" fmla="*/ 2785290 w 5461353"/>
              <a:gd name="connsiteY5" fmla="*/ 0 h 5575582"/>
              <a:gd name="connsiteX6" fmla="*/ 3304119 w 5461353"/>
              <a:gd name="connsiteY6" fmla="*/ 0 h 5575582"/>
              <a:gd name="connsiteX7" fmla="*/ 4096015 w 5461353"/>
              <a:gd name="connsiteY7" fmla="*/ 0 h 5575582"/>
              <a:gd name="connsiteX8" fmla="*/ 5461353 w 5461353"/>
              <a:gd name="connsiteY8" fmla="*/ 0 h 5575582"/>
              <a:gd name="connsiteX9" fmla="*/ 5461353 w 5461353"/>
              <a:gd name="connsiteY9" fmla="*/ 0 h 5575582"/>
              <a:gd name="connsiteX10" fmla="*/ 5461353 w 5461353"/>
              <a:gd name="connsiteY10" fmla="*/ 641192 h 5575582"/>
              <a:gd name="connsiteX11" fmla="*/ 5461353 w 5461353"/>
              <a:gd name="connsiteY11" fmla="*/ 1170872 h 5575582"/>
              <a:gd name="connsiteX12" fmla="*/ 5461353 w 5461353"/>
              <a:gd name="connsiteY12" fmla="*/ 1700553 h 5575582"/>
              <a:gd name="connsiteX13" fmla="*/ 5461353 w 5461353"/>
              <a:gd name="connsiteY13" fmla="*/ 2285989 h 5575582"/>
              <a:gd name="connsiteX14" fmla="*/ 5461353 w 5461353"/>
              <a:gd name="connsiteY14" fmla="*/ 2982936 h 5575582"/>
              <a:gd name="connsiteX15" fmla="*/ 5461353 w 5461353"/>
              <a:gd name="connsiteY15" fmla="*/ 3735640 h 5575582"/>
              <a:gd name="connsiteX16" fmla="*/ 5461353 w 5461353"/>
              <a:gd name="connsiteY16" fmla="*/ 4265320 h 5575582"/>
              <a:gd name="connsiteX17" fmla="*/ 5461353 w 5461353"/>
              <a:gd name="connsiteY17" fmla="*/ 4962268 h 5575582"/>
              <a:gd name="connsiteX18" fmla="*/ 5461353 w 5461353"/>
              <a:gd name="connsiteY18" fmla="*/ 5575582 h 5575582"/>
              <a:gd name="connsiteX19" fmla="*/ 5461353 w 5461353"/>
              <a:gd name="connsiteY19" fmla="*/ 5575582 h 5575582"/>
              <a:gd name="connsiteX20" fmla="*/ 4887911 w 5461353"/>
              <a:gd name="connsiteY20" fmla="*/ 5575582 h 5575582"/>
              <a:gd name="connsiteX21" fmla="*/ 4096015 w 5461353"/>
              <a:gd name="connsiteY21" fmla="*/ 5575582 h 5575582"/>
              <a:gd name="connsiteX22" fmla="*/ 3577186 w 5461353"/>
              <a:gd name="connsiteY22" fmla="*/ 5575582 h 5575582"/>
              <a:gd name="connsiteX23" fmla="*/ 3058358 w 5461353"/>
              <a:gd name="connsiteY23" fmla="*/ 5575582 h 5575582"/>
              <a:gd name="connsiteX24" fmla="*/ 2266461 w 5461353"/>
              <a:gd name="connsiteY24" fmla="*/ 5575582 h 5575582"/>
              <a:gd name="connsiteX25" fmla="*/ 1583792 w 5461353"/>
              <a:gd name="connsiteY25" fmla="*/ 5575582 h 5575582"/>
              <a:gd name="connsiteX26" fmla="*/ 901123 w 5461353"/>
              <a:gd name="connsiteY26" fmla="*/ 5575582 h 5575582"/>
              <a:gd name="connsiteX27" fmla="*/ 0 w 5461353"/>
              <a:gd name="connsiteY27" fmla="*/ 5575582 h 5575582"/>
              <a:gd name="connsiteX28" fmla="*/ 0 w 5461353"/>
              <a:gd name="connsiteY28" fmla="*/ 5575582 h 5575582"/>
              <a:gd name="connsiteX29" fmla="*/ 0 w 5461353"/>
              <a:gd name="connsiteY29" fmla="*/ 4878634 h 5575582"/>
              <a:gd name="connsiteX30" fmla="*/ 0 w 5461353"/>
              <a:gd name="connsiteY30" fmla="*/ 4348954 h 5575582"/>
              <a:gd name="connsiteX31" fmla="*/ 0 w 5461353"/>
              <a:gd name="connsiteY31" fmla="*/ 3763518 h 5575582"/>
              <a:gd name="connsiteX32" fmla="*/ 0 w 5461353"/>
              <a:gd name="connsiteY32" fmla="*/ 3178082 h 5575582"/>
              <a:gd name="connsiteX33" fmla="*/ 0 w 5461353"/>
              <a:gd name="connsiteY33" fmla="*/ 2425378 h 5575582"/>
              <a:gd name="connsiteX34" fmla="*/ 0 w 5461353"/>
              <a:gd name="connsiteY34" fmla="*/ 1895698 h 5575582"/>
              <a:gd name="connsiteX35" fmla="*/ 0 w 5461353"/>
              <a:gd name="connsiteY35" fmla="*/ 1310262 h 5575582"/>
              <a:gd name="connsiteX36" fmla="*/ 0 w 5461353"/>
              <a:gd name="connsiteY36" fmla="*/ 724826 h 5575582"/>
              <a:gd name="connsiteX37" fmla="*/ 0 w 5461353"/>
              <a:gd name="connsiteY37" fmla="*/ 0 h 557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461353" h="5575582" fill="none" extrusionOk="0">
                <a:moveTo>
                  <a:pt x="0" y="0"/>
                </a:moveTo>
                <a:lnTo>
                  <a:pt x="0" y="0"/>
                </a:lnTo>
                <a:cubicBezTo>
                  <a:pt x="248828" y="-3569"/>
                  <a:pt x="519143" y="-1611"/>
                  <a:pt x="737283" y="0"/>
                </a:cubicBezTo>
                <a:cubicBezTo>
                  <a:pt x="955423" y="1611"/>
                  <a:pt x="1030835" y="-12480"/>
                  <a:pt x="1310725" y="0"/>
                </a:cubicBezTo>
                <a:cubicBezTo>
                  <a:pt x="1590615" y="12480"/>
                  <a:pt x="1884757" y="-28536"/>
                  <a:pt x="2048007" y="0"/>
                </a:cubicBezTo>
                <a:cubicBezTo>
                  <a:pt x="2211257" y="28536"/>
                  <a:pt x="2537082" y="-36190"/>
                  <a:pt x="2785290" y="0"/>
                </a:cubicBezTo>
                <a:cubicBezTo>
                  <a:pt x="3033498" y="36190"/>
                  <a:pt x="3063932" y="23335"/>
                  <a:pt x="3304119" y="0"/>
                </a:cubicBezTo>
                <a:cubicBezTo>
                  <a:pt x="3544306" y="-23335"/>
                  <a:pt x="3767155" y="-4014"/>
                  <a:pt x="4096015" y="0"/>
                </a:cubicBezTo>
                <a:cubicBezTo>
                  <a:pt x="4424875" y="4014"/>
                  <a:pt x="4898385" y="-62391"/>
                  <a:pt x="5461353" y="0"/>
                </a:cubicBezTo>
                <a:lnTo>
                  <a:pt x="5461353" y="0"/>
                </a:lnTo>
                <a:cubicBezTo>
                  <a:pt x="5491741" y="298679"/>
                  <a:pt x="5486177" y="449228"/>
                  <a:pt x="5461353" y="641192"/>
                </a:cubicBezTo>
                <a:cubicBezTo>
                  <a:pt x="5436529" y="833156"/>
                  <a:pt x="5486447" y="907384"/>
                  <a:pt x="5461353" y="1170872"/>
                </a:cubicBezTo>
                <a:cubicBezTo>
                  <a:pt x="5436259" y="1434360"/>
                  <a:pt x="5481432" y="1589808"/>
                  <a:pt x="5461353" y="1700553"/>
                </a:cubicBezTo>
                <a:cubicBezTo>
                  <a:pt x="5441274" y="1811298"/>
                  <a:pt x="5488693" y="2052489"/>
                  <a:pt x="5461353" y="2285989"/>
                </a:cubicBezTo>
                <a:cubicBezTo>
                  <a:pt x="5434013" y="2519489"/>
                  <a:pt x="5493931" y="2813938"/>
                  <a:pt x="5461353" y="2982936"/>
                </a:cubicBezTo>
                <a:cubicBezTo>
                  <a:pt x="5428775" y="3151934"/>
                  <a:pt x="5460442" y="3460058"/>
                  <a:pt x="5461353" y="3735640"/>
                </a:cubicBezTo>
                <a:cubicBezTo>
                  <a:pt x="5462264" y="4011222"/>
                  <a:pt x="5456031" y="4100082"/>
                  <a:pt x="5461353" y="4265320"/>
                </a:cubicBezTo>
                <a:cubicBezTo>
                  <a:pt x="5466675" y="4430558"/>
                  <a:pt x="5429578" y="4617769"/>
                  <a:pt x="5461353" y="4962268"/>
                </a:cubicBezTo>
                <a:cubicBezTo>
                  <a:pt x="5493128" y="5306767"/>
                  <a:pt x="5466031" y="5334945"/>
                  <a:pt x="5461353" y="5575582"/>
                </a:cubicBezTo>
                <a:lnTo>
                  <a:pt x="5461353" y="5575582"/>
                </a:lnTo>
                <a:cubicBezTo>
                  <a:pt x="5215771" y="5588846"/>
                  <a:pt x="5088088" y="5550562"/>
                  <a:pt x="4887911" y="5575582"/>
                </a:cubicBezTo>
                <a:cubicBezTo>
                  <a:pt x="4687734" y="5600602"/>
                  <a:pt x="4438551" y="5576965"/>
                  <a:pt x="4096015" y="5575582"/>
                </a:cubicBezTo>
                <a:cubicBezTo>
                  <a:pt x="3753479" y="5574199"/>
                  <a:pt x="3724457" y="5568072"/>
                  <a:pt x="3577186" y="5575582"/>
                </a:cubicBezTo>
                <a:cubicBezTo>
                  <a:pt x="3429915" y="5583092"/>
                  <a:pt x="3273680" y="5563462"/>
                  <a:pt x="3058358" y="5575582"/>
                </a:cubicBezTo>
                <a:cubicBezTo>
                  <a:pt x="2843036" y="5587702"/>
                  <a:pt x="2456185" y="5543808"/>
                  <a:pt x="2266461" y="5575582"/>
                </a:cubicBezTo>
                <a:cubicBezTo>
                  <a:pt x="2076737" y="5607356"/>
                  <a:pt x="1752685" y="5570191"/>
                  <a:pt x="1583792" y="5575582"/>
                </a:cubicBezTo>
                <a:cubicBezTo>
                  <a:pt x="1414899" y="5580973"/>
                  <a:pt x="1066710" y="5567225"/>
                  <a:pt x="901123" y="5575582"/>
                </a:cubicBezTo>
                <a:cubicBezTo>
                  <a:pt x="735536" y="5583939"/>
                  <a:pt x="343461" y="5580058"/>
                  <a:pt x="0" y="5575582"/>
                </a:cubicBezTo>
                <a:lnTo>
                  <a:pt x="0" y="5575582"/>
                </a:lnTo>
                <a:cubicBezTo>
                  <a:pt x="34328" y="5395749"/>
                  <a:pt x="10257" y="5218509"/>
                  <a:pt x="0" y="4878634"/>
                </a:cubicBezTo>
                <a:cubicBezTo>
                  <a:pt x="-10257" y="4538759"/>
                  <a:pt x="-21694" y="4469921"/>
                  <a:pt x="0" y="4348954"/>
                </a:cubicBezTo>
                <a:cubicBezTo>
                  <a:pt x="21694" y="4227987"/>
                  <a:pt x="-27926" y="4051584"/>
                  <a:pt x="0" y="3763518"/>
                </a:cubicBezTo>
                <a:cubicBezTo>
                  <a:pt x="27926" y="3475452"/>
                  <a:pt x="4030" y="3325952"/>
                  <a:pt x="0" y="3178082"/>
                </a:cubicBezTo>
                <a:cubicBezTo>
                  <a:pt x="-4030" y="3030212"/>
                  <a:pt x="1984" y="2582579"/>
                  <a:pt x="0" y="2425378"/>
                </a:cubicBezTo>
                <a:cubicBezTo>
                  <a:pt x="-1984" y="2268177"/>
                  <a:pt x="8140" y="2068374"/>
                  <a:pt x="0" y="1895698"/>
                </a:cubicBezTo>
                <a:cubicBezTo>
                  <a:pt x="-8140" y="1723022"/>
                  <a:pt x="-1547" y="1501965"/>
                  <a:pt x="0" y="1310262"/>
                </a:cubicBezTo>
                <a:cubicBezTo>
                  <a:pt x="1547" y="1118559"/>
                  <a:pt x="-27438" y="914050"/>
                  <a:pt x="0" y="724826"/>
                </a:cubicBezTo>
                <a:cubicBezTo>
                  <a:pt x="27438" y="535602"/>
                  <a:pt x="16821" y="326953"/>
                  <a:pt x="0" y="0"/>
                </a:cubicBezTo>
                <a:close/>
              </a:path>
              <a:path w="5461353" h="5575582"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9090" y="187334"/>
                  <a:pt x="5434504" y="363561"/>
                  <a:pt x="5461353" y="641192"/>
                </a:cubicBezTo>
                <a:cubicBezTo>
                  <a:pt x="5488202" y="918823"/>
                  <a:pt x="5480495" y="1106674"/>
                  <a:pt x="5461353" y="1449651"/>
                </a:cubicBezTo>
                <a:cubicBezTo>
                  <a:pt x="5442211" y="1792628"/>
                  <a:pt x="5451132" y="1796775"/>
                  <a:pt x="5461353" y="2035087"/>
                </a:cubicBezTo>
                <a:cubicBezTo>
                  <a:pt x="5471574" y="2273399"/>
                  <a:pt x="5438966" y="2574009"/>
                  <a:pt x="5461353" y="2732035"/>
                </a:cubicBezTo>
                <a:cubicBezTo>
                  <a:pt x="5483740" y="2890061"/>
                  <a:pt x="5482804" y="2997332"/>
                  <a:pt x="5461353" y="3261715"/>
                </a:cubicBezTo>
                <a:cubicBezTo>
                  <a:pt x="5439902" y="3526098"/>
                  <a:pt x="5436604" y="3615996"/>
                  <a:pt x="5461353" y="3791396"/>
                </a:cubicBezTo>
                <a:cubicBezTo>
                  <a:pt x="5486102" y="3966796"/>
                  <a:pt x="5435975" y="4257891"/>
                  <a:pt x="5461353" y="4376832"/>
                </a:cubicBezTo>
                <a:cubicBezTo>
                  <a:pt x="5486731" y="4495773"/>
                  <a:pt x="5506958" y="5002289"/>
                  <a:pt x="5461353" y="5575582"/>
                </a:cubicBezTo>
                <a:lnTo>
                  <a:pt x="5461353" y="5575582"/>
                </a:lnTo>
                <a:cubicBezTo>
                  <a:pt x="5252396" y="5586565"/>
                  <a:pt x="5150080" y="5600866"/>
                  <a:pt x="4942524" y="5575582"/>
                </a:cubicBezTo>
                <a:cubicBezTo>
                  <a:pt x="4734968" y="5550298"/>
                  <a:pt x="4628138" y="5545810"/>
                  <a:pt x="4314469" y="5575582"/>
                </a:cubicBezTo>
                <a:cubicBezTo>
                  <a:pt x="4000800" y="5605354"/>
                  <a:pt x="3787631" y="5547252"/>
                  <a:pt x="3631800" y="5575582"/>
                </a:cubicBezTo>
                <a:cubicBezTo>
                  <a:pt x="3475969" y="5603912"/>
                  <a:pt x="3092042" y="5570120"/>
                  <a:pt x="2949131" y="5575582"/>
                </a:cubicBezTo>
                <a:cubicBezTo>
                  <a:pt x="2806220" y="5581044"/>
                  <a:pt x="2559860" y="5593209"/>
                  <a:pt x="2321075" y="5575582"/>
                </a:cubicBezTo>
                <a:cubicBezTo>
                  <a:pt x="2082290" y="5557955"/>
                  <a:pt x="1912174" y="5613223"/>
                  <a:pt x="1529179" y="5575582"/>
                </a:cubicBezTo>
                <a:cubicBezTo>
                  <a:pt x="1146184" y="5537941"/>
                  <a:pt x="944567" y="5608727"/>
                  <a:pt x="791896" y="5575582"/>
                </a:cubicBezTo>
                <a:cubicBezTo>
                  <a:pt x="639225" y="5542437"/>
                  <a:pt x="206160" y="5591258"/>
                  <a:pt x="0" y="5575582"/>
                </a:cubicBezTo>
                <a:lnTo>
                  <a:pt x="0" y="5575582"/>
                </a:lnTo>
                <a:cubicBezTo>
                  <a:pt x="599" y="5357745"/>
                  <a:pt x="-4015" y="5064891"/>
                  <a:pt x="0" y="4767123"/>
                </a:cubicBezTo>
                <a:cubicBezTo>
                  <a:pt x="4015" y="4469355"/>
                  <a:pt x="17678" y="4394137"/>
                  <a:pt x="0" y="4237442"/>
                </a:cubicBezTo>
                <a:cubicBezTo>
                  <a:pt x="-17678" y="4080747"/>
                  <a:pt x="-19837" y="3752315"/>
                  <a:pt x="0" y="3540495"/>
                </a:cubicBezTo>
                <a:cubicBezTo>
                  <a:pt x="19837" y="3328675"/>
                  <a:pt x="21010" y="3051156"/>
                  <a:pt x="0" y="2899303"/>
                </a:cubicBezTo>
                <a:cubicBezTo>
                  <a:pt x="-21010" y="2747450"/>
                  <a:pt x="19182" y="2319871"/>
                  <a:pt x="0" y="2090843"/>
                </a:cubicBezTo>
                <a:cubicBezTo>
                  <a:pt x="-19182" y="1861815"/>
                  <a:pt x="21100" y="1645379"/>
                  <a:pt x="0" y="1449651"/>
                </a:cubicBezTo>
                <a:cubicBezTo>
                  <a:pt x="-21100" y="1253923"/>
                  <a:pt x="8395" y="1053880"/>
                  <a:pt x="0" y="919971"/>
                </a:cubicBezTo>
                <a:cubicBezTo>
                  <a:pt x="-8395" y="786062"/>
                  <a:pt x="23587" y="340489"/>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89CADB71-8FF5-0EA5-9406-791B4EB0D3B8}"/>
              </a:ext>
            </a:extLst>
          </p:cNvPr>
          <p:cNvSpPr/>
          <p:nvPr/>
        </p:nvSpPr>
        <p:spPr>
          <a:xfrm>
            <a:off x="6233455" y="858129"/>
            <a:ext cx="5461359" cy="5328566"/>
          </a:xfrm>
          <a:custGeom>
            <a:avLst/>
            <a:gdLst>
              <a:gd name="connsiteX0" fmla="*/ 0 w 5461359"/>
              <a:gd name="connsiteY0" fmla="*/ 0 h 5328566"/>
              <a:gd name="connsiteX1" fmla="*/ 737283 w 5461359"/>
              <a:gd name="connsiteY1" fmla="*/ 0 h 5328566"/>
              <a:gd name="connsiteX2" fmla="*/ 1310726 w 5461359"/>
              <a:gd name="connsiteY2" fmla="*/ 0 h 5328566"/>
              <a:gd name="connsiteX3" fmla="*/ 2048010 w 5461359"/>
              <a:gd name="connsiteY3" fmla="*/ 0 h 5328566"/>
              <a:gd name="connsiteX4" fmla="*/ 2566839 w 5461359"/>
              <a:gd name="connsiteY4" fmla="*/ 0 h 5328566"/>
              <a:gd name="connsiteX5" fmla="*/ 3140281 w 5461359"/>
              <a:gd name="connsiteY5" fmla="*/ 0 h 5328566"/>
              <a:gd name="connsiteX6" fmla="*/ 3822951 w 5461359"/>
              <a:gd name="connsiteY6" fmla="*/ 0 h 5328566"/>
              <a:gd name="connsiteX7" fmla="*/ 4560235 w 5461359"/>
              <a:gd name="connsiteY7" fmla="*/ 0 h 5328566"/>
              <a:gd name="connsiteX8" fmla="*/ 5461359 w 5461359"/>
              <a:gd name="connsiteY8" fmla="*/ 0 h 5328566"/>
              <a:gd name="connsiteX9" fmla="*/ 5461359 w 5461359"/>
              <a:gd name="connsiteY9" fmla="*/ 612785 h 5328566"/>
              <a:gd name="connsiteX10" fmla="*/ 5461359 w 5461359"/>
              <a:gd name="connsiteY10" fmla="*/ 1118999 h 5328566"/>
              <a:gd name="connsiteX11" fmla="*/ 5461359 w 5461359"/>
              <a:gd name="connsiteY11" fmla="*/ 1731784 h 5328566"/>
              <a:gd name="connsiteX12" fmla="*/ 5461359 w 5461359"/>
              <a:gd name="connsiteY12" fmla="*/ 2344569 h 5328566"/>
              <a:gd name="connsiteX13" fmla="*/ 5461359 w 5461359"/>
              <a:gd name="connsiteY13" fmla="*/ 3063925 h 5328566"/>
              <a:gd name="connsiteX14" fmla="*/ 5461359 w 5461359"/>
              <a:gd name="connsiteY14" fmla="*/ 3623425 h 5328566"/>
              <a:gd name="connsiteX15" fmla="*/ 5461359 w 5461359"/>
              <a:gd name="connsiteY15" fmla="*/ 4236210 h 5328566"/>
              <a:gd name="connsiteX16" fmla="*/ 5461359 w 5461359"/>
              <a:gd name="connsiteY16" fmla="*/ 5328566 h 5328566"/>
              <a:gd name="connsiteX17" fmla="*/ 4887916 w 5461359"/>
              <a:gd name="connsiteY17" fmla="*/ 5328566 h 5328566"/>
              <a:gd name="connsiteX18" fmla="*/ 4150633 w 5461359"/>
              <a:gd name="connsiteY18" fmla="*/ 5328566 h 5328566"/>
              <a:gd name="connsiteX19" fmla="*/ 3631804 w 5461359"/>
              <a:gd name="connsiteY19" fmla="*/ 5328566 h 5328566"/>
              <a:gd name="connsiteX20" fmla="*/ 3112975 w 5461359"/>
              <a:gd name="connsiteY20" fmla="*/ 5328566 h 5328566"/>
              <a:gd name="connsiteX21" fmla="*/ 2539532 w 5461359"/>
              <a:gd name="connsiteY21" fmla="*/ 5328566 h 5328566"/>
              <a:gd name="connsiteX22" fmla="*/ 1802248 w 5461359"/>
              <a:gd name="connsiteY22" fmla="*/ 5328566 h 5328566"/>
              <a:gd name="connsiteX23" fmla="*/ 1119579 w 5461359"/>
              <a:gd name="connsiteY23" fmla="*/ 5328566 h 5328566"/>
              <a:gd name="connsiteX24" fmla="*/ 0 w 5461359"/>
              <a:gd name="connsiteY24" fmla="*/ 5328566 h 5328566"/>
              <a:gd name="connsiteX25" fmla="*/ 0 w 5461359"/>
              <a:gd name="connsiteY25" fmla="*/ 4715781 h 5328566"/>
              <a:gd name="connsiteX26" fmla="*/ 0 w 5461359"/>
              <a:gd name="connsiteY26" fmla="*/ 4156281 h 5328566"/>
              <a:gd name="connsiteX27" fmla="*/ 0 w 5461359"/>
              <a:gd name="connsiteY27" fmla="*/ 3436925 h 5328566"/>
              <a:gd name="connsiteX28" fmla="*/ 0 w 5461359"/>
              <a:gd name="connsiteY28" fmla="*/ 2877426 h 5328566"/>
              <a:gd name="connsiteX29" fmla="*/ 0 w 5461359"/>
              <a:gd name="connsiteY29" fmla="*/ 2158069 h 5328566"/>
              <a:gd name="connsiteX30" fmla="*/ 0 w 5461359"/>
              <a:gd name="connsiteY30" fmla="*/ 1651855 h 5328566"/>
              <a:gd name="connsiteX31" fmla="*/ 0 w 5461359"/>
              <a:gd name="connsiteY31" fmla="*/ 1145642 h 5328566"/>
              <a:gd name="connsiteX32" fmla="*/ 0 w 5461359"/>
              <a:gd name="connsiteY32" fmla="*/ 0 h 532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9" h="532856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55984" y="209939"/>
                  <a:pt x="5454223" y="384510"/>
                  <a:pt x="5461359" y="612785"/>
                </a:cubicBezTo>
                <a:cubicBezTo>
                  <a:pt x="5468495" y="841061"/>
                  <a:pt x="5436522" y="891463"/>
                  <a:pt x="5461359" y="1118999"/>
                </a:cubicBezTo>
                <a:cubicBezTo>
                  <a:pt x="5486196" y="1346535"/>
                  <a:pt x="5474921" y="1474349"/>
                  <a:pt x="5461359" y="1731784"/>
                </a:cubicBezTo>
                <a:cubicBezTo>
                  <a:pt x="5447797" y="1989219"/>
                  <a:pt x="5448668" y="2149543"/>
                  <a:pt x="5461359" y="2344569"/>
                </a:cubicBezTo>
                <a:cubicBezTo>
                  <a:pt x="5474050" y="2539595"/>
                  <a:pt x="5470703" y="2709396"/>
                  <a:pt x="5461359" y="3063925"/>
                </a:cubicBezTo>
                <a:cubicBezTo>
                  <a:pt x="5452015" y="3418454"/>
                  <a:pt x="5439758" y="3487814"/>
                  <a:pt x="5461359" y="3623425"/>
                </a:cubicBezTo>
                <a:cubicBezTo>
                  <a:pt x="5482960" y="3759036"/>
                  <a:pt x="5440277" y="4035120"/>
                  <a:pt x="5461359" y="4236210"/>
                </a:cubicBezTo>
                <a:cubicBezTo>
                  <a:pt x="5482441" y="4437300"/>
                  <a:pt x="5472015" y="4969049"/>
                  <a:pt x="5461359" y="5328566"/>
                </a:cubicBezTo>
                <a:cubicBezTo>
                  <a:pt x="5182884" y="5345936"/>
                  <a:pt x="5044107" y="5306047"/>
                  <a:pt x="4887916" y="5328566"/>
                </a:cubicBezTo>
                <a:cubicBezTo>
                  <a:pt x="4731725" y="5351085"/>
                  <a:pt x="4376918" y="5317968"/>
                  <a:pt x="4150633" y="5328566"/>
                </a:cubicBezTo>
                <a:cubicBezTo>
                  <a:pt x="3924348" y="5339164"/>
                  <a:pt x="3791622" y="5309100"/>
                  <a:pt x="3631804" y="5328566"/>
                </a:cubicBezTo>
                <a:cubicBezTo>
                  <a:pt x="3471986" y="5348032"/>
                  <a:pt x="3319363" y="5349879"/>
                  <a:pt x="3112975" y="5328566"/>
                </a:cubicBezTo>
                <a:cubicBezTo>
                  <a:pt x="2906587" y="5307253"/>
                  <a:pt x="2659549" y="5354446"/>
                  <a:pt x="2539532" y="5328566"/>
                </a:cubicBezTo>
                <a:cubicBezTo>
                  <a:pt x="2419515" y="5302686"/>
                  <a:pt x="2010954" y="5358593"/>
                  <a:pt x="1802248" y="5328566"/>
                </a:cubicBezTo>
                <a:cubicBezTo>
                  <a:pt x="1593542" y="5298539"/>
                  <a:pt x="1425338" y="5302204"/>
                  <a:pt x="1119579" y="5328566"/>
                </a:cubicBezTo>
                <a:cubicBezTo>
                  <a:pt x="813820" y="5354928"/>
                  <a:pt x="376854" y="5384139"/>
                  <a:pt x="0" y="5328566"/>
                </a:cubicBezTo>
                <a:cubicBezTo>
                  <a:pt x="-14770" y="5163292"/>
                  <a:pt x="16423" y="4885488"/>
                  <a:pt x="0" y="4715781"/>
                </a:cubicBezTo>
                <a:cubicBezTo>
                  <a:pt x="-16423" y="4546074"/>
                  <a:pt x="-21504" y="4324993"/>
                  <a:pt x="0" y="4156281"/>
                </a:cubicBezTo>
                <a:cubicBezTo>
                  <a:pt x="21504" y="3987569"/>
                  <a:pt x="24562" y="3727411"/>
                  <a:pt x="0" y="3436925"/>
                </a:cubicBezTo>
                <a:cubicBezTo>
                  <a:pt x="-24562" y="3146439"/>
                  <a:pt x="9770" y="3121366"/>
                  <a:pt x="0" y="2877426"/>
                </a:cubicBezTo>
                <a:cubicBezTo>
                  <a:pt x="-9770" y="2633486"/>
                  <a:pt x="-7860" y="2419210"/>
                  <a:pt x="0" y="2158069"/>
                </a:cubicBezTo>
                <a:cubicBezTo>
                  <a:pt x="7860" y="1896928"/>
                  <a:pt x="-19758" y="1832631"/>
                  <a:pt x="0" y="1651855"/>
                </a:cubicBezTo>
                <a:cubicBezTo>
                  <a:pt x="19758" y="1471079"/>
                  <a:pt x="-13522" y="1254132"/>
                  <a:pt x="0" y="1145642"/>
                </a:cubicBezTo>
                <a:cubicBezTo>
                  <a:pt x="13522" y="1037152"/>
                  <a:pt x="-42896" y="328237"/>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dirty="0">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dirty="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descr="A green diamond with a white letter&#10;&#10;AI-generated content may be incorrect.">
            <a:extLst>
              <a:ext uri="{FF2B5EF4-FFF2-40B4-BE49-F238E27FC236}">
                <a16:creationId xmlns:a16="http://schemas.microsoft.com/office/drawing/2014/main" id="{BCD97BA8-DCBA-0245-A242-982221325194}"/>
              </a:ext>
            </a:extLst>
          </p:cNvPr>
          <p:cNvPicPr>
            <a:picLocks noChangeAspect="1"/>
          </p:cNvPicPr>
          <p:nvPr/>
        </p:nvPicPr>
        <p:blipFill>
          <a:blip r:embed="rId5"/>
          <a:stretch>
            <a:fillRect/>
          </a:stretch>
        </p:blipFill>
        <p:spPr>
          <a:xfrm>
            <a:off x="11131028" y="125623"/>
            <a:ext cx="563786" cy="632987"/>
          </a:xfrm>
          <a:prstGeom prst="rect">
            <a:avLst/>
          </a:prstGeom>
        </p:spPr>
      </p:pic>
      <p:sp>
        <p:nvSpPr>
          <p:cNvPr id="3" name="Rectangle: Rounded Corners 3">
            <a:extLst>
              <a:ext uri="{FF2B5EF4-FFF2-40B4-BE49-F238E27FC236}">
                <a16:creationId xmlns:a16="http://schemas.microsoft.com/office/drawing/2014/main" id="{CF49BD0B-2F28-E41E-3FA4-4CA35921C146}"/>
              </a:ext>
            </a:extLst>
          </p:cNvPr>
          <p:cNvSpPr/>
          <p:nvPr/>
        </p:nvSpPr>
        <p:spPr>
          <a:xfrm>
            <a:off x="6480514" y="1235526"/>
            <a:ext cx="4899332" cy="486386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dashboard]</a:t>
            </a:r>
          </a:p>
        </p:txBody>
      </p:sp>
    </p:spTree>
    <p:extLst>
      <p:ext uri="{BB962C8B-B14F-4D97-AF65-F5344CB8AC3E}">
        <p14:creationId xmlns:p14="http://schemas.microsoft.com/office/powerpoint/2010/main" val="15844734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55CE71-92C7-10B6-55A3-21CBFE7C3F76}"/>
              </a:ext>
            </a:extLst>
          </p:cNvPr>
          <p:cNvGraphicFramePr>
            <a:graphicFrameLocks noChangeAspect="1"/>
          </p:cNvGraphicFramePr>
          <p:nvPr>
            <p:custDataLst>
              <p:tags r:id="rId1"/>
            </p:custDataLst>
            <p:extLst>
              <p:ext uri="{D42A27DB-BD31-4B8C-83A1-F6EECF244321}">
                <p14:modId xmlns:p14="http://schemas.microsoft.com/office/powerpoint/2010/main" val="3381583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E355CE71-92C7-10B6-55A3-21CBFE7C3F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Pladsholder til sidefod 3">
            <a:extLst>
              <a:ext uri="{FF2B5EF4-FFF2-40B4-BE49-F238E27FC236}">
                <a16:creationId xmlns:a16="http://schemas.microsoft.com/office/drawing/2014/main" id="{4DF73E59-FB4C-DB5D-45CA-81D38C3B0AAE}"/>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89FD7E02-D718-1D66-97B5-5667E138B57B}"/>
              </a:ext>
            </a:extLst>
          </p:cNvPr>
          <p:cNvSpPr>
            <a:spLocks noGrp="1"/>
          </p:cNvSpPr>
          <p:nvPr>
            <p:ph type="sldNum" sz="quarter" idx="12"/>
          </p:nvPr>
        </p:nvSpPr>
        <p:spPr/>
        <p:txBody>
          <a:bodyPr/>
          <a:lstStyle/>
          <a:p>
            <a:fld id="{D1CF6110-3358-3240-B3E6-2B2529506D05}" type="slidenum">
              <a:rPr lang="da-DK" smtClean="0"/>
              <a:t>17</a:t>
            </a:fld>
            <a:endParaRPr lang="da-DK"/>
          </a:p>
        </p:txBody>
      </p:sp>
      <p:pic>
        <p:nvPicPr>
          <p:cNvPr id="8" name="Billede 7" descr="Et billede, der indeholder tekst, Font/skrifttype, flag, banner&#10;&#10;AI-genereret indhold kan være ukorrekt.">
            <a:extLst>
              <a:ext uri="{FF2B5EF4-FFF2-40B4-BE49-F238E27FC236}">
                <a16:creationId xmlns:a16="http://schemas.microsoft.com/office/drawing/2014/main" id="{1FD0FC42-5A06-DF90-09EA-EF87D5DE361A}"/>
              </a:ext>
            </a:extLst>
          </p:cNvPr>
          <p:cNvPicPr>
            <a:picLocks noChangeAspect="1"/>
          </p:cNvPicPr>
          <p:nvPr/>
        </p:nvPicPr>
        <p:blipFill>
          <a:blip r:embed="rId5">
            <a:alphaModFix amt="35000"/>
          </a:blip>
          <a:srcRect l="17353" t="21612" r="3774" b="11857"/>
          <a:stretch>
            <a:fillRect/>
          </a:stretch>
        </p:blipFill>
        <p:spPr>
          <a:xfrm>
            <a:off x="0" y="0"/>
            <a:ext cx="12192000" cy="6858000"/>
          </a:xfrm>
          <a:prstGeom prst="rect">
            <a:avLst/>
          </a:prstGeom>
        </p:spPr>
      </p:pic>
      <p:sp>
        <p:nvSpPr>
          <p:cNvPr id="10" name="Tekstfelt 9">
            <a:extLst>
              <a:ext uri="{FF2B5EF4-FFF2-40B4-BE49-F238E27FC236}">
                <a16:creationId xmlns:a16="http://schemas.microsoft.com/office/drawing/2014/main" id="{E79260E9-6080-E8F4-4437-636D0D6EC0AE}"/>
              </a:ext>
            </a:extLst>
          </p:cNvPr>
          <p:cNvSpPr txBox="1"/>
          <p:nvPr/>
        </p:nvSpPr>
        <p:spPr>
          <a:xfrm>
            <a:off x="6872069" y="4111556"/>
            <a:ext cx="4958861" cy="2108269"/>
          </a:xfrm>
          <a:prstGeom prst="rect">
            <a:avLst/>
          </a:prstGeom>
          <a:noFill/>
        </p:spPr>
        <p:txBody>
          <a:bodyPr wrap="square" rtlCol="0">
            <a:spAutoFit/>
          </a:bodyPr>
          <a:lstStyle/>
          <a:p>
            <a:r>
              <a:rPr lang="da-DK" sz="1100" i="1" dirty="0">
                <a:solidFill>
                  <a:schemeClr val="bg1">
                    <a:lumMod val="50000"/>
                  </a:schemeClr>
                </a:solidFill>
                <a:latin typeface="Verdana" panose="020B0604030504040204" pitchFamily="34" charset="0"/>
                <a:ea typeface="Verdana" panose="020B0604030504040204" pitchFamily="34" charset="0"/>
              </a:rPr>
              <a:t>Her kan I fremhæve et væsentligt nøgletal. Dette slide kan kopieres og indsættes, hvor I synes det giver mening, hvis I har noget, som I gerne vil fremhæve. For eksempel: </a:t>
            </a:r>
          </a:p>
          <a:p>
            <a:endParaRPr lang="da-DK" sz="1400" b="1" dirty="0">
              <a:solidFill>
                <a:srgbClr val="005850"/>
              </a:solidFill>
              <a:latin typeface="Verdana" panose="020B0604030504040204" pitchFamily="34" charset="0"/>
              <a:ea typeface="Verdana" panose="020B0604030504040204" pitchFamily="34" charset="0"/>
            </a:endParaRPr>
          </a:p>
          <a:p>
            <a:r>
              <a:rPr lang="da-DK" sz="2800" b="1" dirty="0">
                <a:solidFill>
                  <a:srgbClr val="005850"/>
                </a:solidFill>
                <a:latin typeface="Verdana" panose="020B0604030504040204" pitchFamily="34" charset="0"/>
                <a:ea typeface="Verdana" panose="020B0604030504040204" pitchFamily="34" charset="0"/>
              </a:rPr>
              <a:t>I [boligorganisation] er 54% af medarbejderne kvinder og 46% mænd</a:t>
            </a:r>
          </a:p>
        </p:txBody>
      </p:sp>
    </p:spTree>
    <p:extLst>
      <p:ext uri="{BB962C8B-B14F-4D97-AF65-F5344CB8AC3E}">
        <p14:creationId xmlns:p14="http://schemas.microsoft.com/office/powerpoint/2010/main" val="452830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CD9DC">
            <a:alpha val="30000"/>
          </a:srgbClr>
        </a:solidFill>
        <a:effectLst/>
      </p:bgPr>
    </p:bg>
    <p:spTree>
      <p:nvGrpSpPr>
        <p:cNvPr id="1" name="">
          <a:extLst>
            <a:ext uri="{FF2B5EF4-FFF2-40B4-BE49-F238E27FC236}">
              <a16:creationId xmlns:a16="http://schemas.microsoft.com/office/drawing/2014/main" id="{D2CC50A5-3729-9255-C0A8-DD42E0BF6ECB}"/>
            </a:ext>
          </a:extLst>
        </p:cNvPr>
        <p:cNvGrpSpPr/>
        <p:nvPr/>
      </p:nvGrpSpPr>
      <p:grpSpPr>
        <a:xfrm>
          <a:off x="0" y="0"/>
          <a:ext cx="0" cy="0"/>
          <a:chOff x="0" y="0"/>
          <a:chExt cx="0" cy="0"/>
        </a:xfrm>
      </p:grpSpPr>
      <p:sp>
        <p:nvSpPr>
          <p:cNvPr id="8" name="Kombinationstegning 7">
            <a:extLst>
              <a:ext uri="{FF2B5EF4-FFF2-40B4-BE49-F238E27FC236}">
                <a16:creationId xmlns:a16="http://schemas.microsoft.com/office/drawing/2014/main" id="{62AD9477-317B-241B-A17C-B98CC23BE67C}"/>
              </a:ext>
            </a:extLst>
          </p:cNvPr>
          <p:cNvSpPr/>
          <p:nvPr/>
        </p:nvSpPr>
        <p:spPr>
          <a:xfrm>
            <a:off x="-95136" y="-460815"/>
            <a:ext cx="4206174" cy="9249103"/>
          </a:xfrm>
          <a:custGeom>
            <a:avLst/>
            <a:gdLst>
              <a:gd name="connsiteX0" fmla="*/ 0 w 3907535"/>
              <a:gd name="connsiteY0" fmla="*/ 118869 h 7580575"/>
              <a:gd name="connsiteX1" fmla="*/ 2554014 w 3907535"/>
              <a:gd name="connsiteY1" fmla="*/ 87338 h 7580575"/>
              <a:gd name="connsiteX2" fmla="*/ 3037490 w 3907535"/>
              <a:gd name="connsiteY2" fmla="*/ 1096332 h 7580575"/>
              <a:gd name="connsiteX3" fmla="*/ 3531476 w 3907535"/>
              <a:gd name="connsiteY3" fmla="*/ 1895118 h 7580575"/>
              <a:gd name="connsiteX4" fmla="*/ 3142593 w 3907535"/>
              <a:gd name="connsiteY4" fmla="*/ 2725435 h 7580575"/>
              <a:gd name="connsiteX5" fmla="*/ 3552497 w 3907535"/>
              <a:gd name="connsiteY5" fmla="*/ 3597794 h 7580575"/>
              <a:gd name="connsiteX6" fmla="*/ 3899338 w 3907535"/>
              <a:gd name="connsiteY6" fmla="*/ 4848525 h 7580575"/>
              <a:gd name="connsiteX7" fmla="*/ 3195145 w 3907535"/>
              <a:gd name="connsiteY7" fmla="*/ 5563228 h 7580575"/>
              <a:gd name="connsiteX8" fmla="*/ 3289738 w 3907535"/>
              <a:gd name="connsiteY8" fmla="*/ 6582732 h 7580575"/>
              <a:gd name="connsiteX9" fmla="*/ 3132083 w 3907535"/>
              <a:gd name="connsiteY9" fmla="*/ 7507642 h 7580575"/>
              <a:gd name="connsiteX10" fmla="*/ 73572 w 3907535"/>
              <a:gd name="connsiteY10" fmla="*/ 7528663 h 758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07535" h="7580575">
                <a:moveTo>
                  <a:pt x="0" y="118869"/>
                </a:moveTo>
                <a:cubicBezTo>
                  <a:pt x="1023883" y="21648"/>
                  <a:pt x="2047766" y="-75572"/>
                  <a:pt x="2554014" y="87338"/>
                </a:cubicBezTo>
                <a:cubicBezTo>
                  <a:pt x="3060262" y="250248"/>
                  <a:pt x="2874580" y="795035"/>
                  <a:pt x="3037490" y="1096332"/>
                </a:cubicBezTo>
                <a:cubicBezTo>
                  <a:pt x="3200400" y="1397629"/>
                  <a:pt x="3513959" y="1623601"/>
                  <a:pt x="3531476" y="1895118"/>
                </a:cubicBezTo>
                <a:cubicBezTo>
                  <a:pt x="3548993" y="2166635"/>
                  <a:pt x="3139089" y="2441656"/>
                  <a:pt x="3142593" y="2725435"/>
                </a:cubicBezTo>
                <a:cubicBezTo>
                  <a:pt x="3146097" y="3009214"/>
                  <a:pt x="3426373" y="3243946"/>
                  <a:pt x="3552497" y="3597794"/>
                </a:cubicBezTo>
                <a:cubicBezTo>
                  <a:pt x="3678621" y="3951642"/>
                  <a:pt x="3958897" y="4520953"/>
                  <a:pt x="3899338" y="4848525"/>
                </a:cubicBezTo>
                <a:cubicBezTo>
                  <a:pt x="3839779" y="5176097"/>
                  <a:pt x="3296745" y="5274194"/>
                  <a:pt x="3195145" y="5563228"/>
                </a:cubicBezTo>
                <a:cubicBezTo>
                  <a:pt x="3093545" y="5852263"/>
                  <a:pt x="3300248" y="6258663"/>
                  <a:pt x="3289738" y="6582732"/>
                </a:cubicBezTo>
                <a:cubicBezTo>
                  <a:pt x="3279228" y="6906801"/>
                  <a:pt x="3668111" y="7349987"/>
                  <a:pt x="3132083" y="7507642"/>
                </a:cubicBezTo>
                <a:cubicBezTo>
                  <a:pt x="2596055" y="7665297"/>
                  <a:pt x="667406" y="7516401"/>
                  <a:pt x="73572" y="7528663"/>
                </a:cubicBezTo>
              </a:path>
            </a:pathLst>
          </a:custGeom>
          <a:solidFill>
            <a:srgbClr val="FC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Pladsholder til slidenummer 4">
            <a:extLst>
              <a:ext uri="{FF2B5EF4-FFF2-40B4-BE49-F238E27FC236}">
                <a16:creationId xmlns:a16="http://schemas.microsoft.com/office/drawing/2014/main" id="{77B1F80E-1AEE-0F87-DD0D-52BC4C014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pic>
        <p:nvPicPr>
          <p:cNvPr id="10" name="Billede 9" descr="Et billede, der indeholder tegning, skitse, kunst, Børnekunst&#10;&#10;Indhold genereret af kunstig intelligens kan være forkert.">
            <a:extLst>
              <a:ext uri="{FF2B5EF4-FFF2-40B4-BE49-F238E27FC236}">
                <a16:creationId xmlns:a16="http://schemas.microsoft.com/office/drawing/2014/main" id="{6E6E11B4-314B-03FF-ADAB-5AE192A87A23}"/>
              </a:ext>
            </a:extLst>
          </p:cNvPr>
          <p:cNvPicPr>
            <a:picLocks noChangeAspect="1"/>
          </p:cNvPicPr>
          <p:nvPr/>
        </p:nvPicPr>
        <p:blipFill>
          <a:blip r:embed="rId3">
            <a:duotone>
              <a:prstClr val="black"/>
              <a:schemeClr val="accent5">
                <a:tint val="45000"/>
                <a:satMod val="400000"/>
              </a:schemeClr>
            </a:duotone>
            <a:alphaModFix amt="35000"/>
            <a:extLst>
              <a:ext uri="{BEBA8EAE-BF5A-486C-A8C5-ECC9F3942E4B}">
                <a14:imgProps xmlns:a14="http://schemas.microsoft.com/office/drawing/2010/main">
                  <a14:imgLayer r:embed="rId4">
                    <a14:imgEffect>
                      <a14:sharpenSoften amount="50000"/>
                    </a14:imgEffect>
                    <a14:imgEffect>
                      <a14:colorTemperature colorTemp="6700"/>
                    </a14:imgEffect>
                    <a14:imgEffect>
                      <a14:saturation sat="126000"/>
                    </a14:imgEffect>
                    <a14:imgEffect>
                      <a14:brightnessContrast bright="40000" contrast="40000"/>
                    </a14:imgEffect>
                  </a14:imgLayer>
                </a14:imgProps>
              </a:ext>
            </a:extLst>
          </a:blip>
          <a:stretch>
            <a:fillRect/>
          </a:stretch>
        </p:blipFill>
        <p:spPr>
          <a:xfrm>
            <a:off x="609521" y="1886622"/>
            <a:ext cx="1555690" cy="2781386"/>
          </a:xfrm>
          <a:prstGeom prst="rect">
            <a:avLst/>
          </a:prstGeom>
        </p:spPr>
      </p:pic>
      <p:sp>
        <p:nvSpPr>
          <p:cNvPr id="4" name="Tekstfelt 3">
            <a:extLst>
              <a:ext uri="{FF2B5EF4-FFF2-40B4-BE49-F238E27FC236}">
                <a16:creationId xmlns:a16="http://schemas.microsoft.com/office/drawing/2014/main" id="{09AF630C-D51F-AEA0-867B-81520F0EF832}"/>
              </a:ext>
            </a:extLst>
          </p:cNvPr>
          <p:cNvSpPr txBox="1"/>
          <p:nvPr/>
        </p:nvSpPr>
        <p:spPr>
          <a:xfrm>
            <a:off x="1234484" y="5075110"/>
            <a:ext cx="2882625" cy="954107"/>
          </a:xfrm>
          <a:prstGeom prst="rect">
            <a:avLst/>
          </a:prstGeom>
          <a:noFill/>
        </p:spPr>
        <p:txBody>
          <a:bodyPr wrap="square" rtlCol="0">
            <a:spAutoFit/>
          </a:bodyPr>
          <a:lstStyle/>
          <a:p>
            <a:r>
              <a:rPr lang="da-DK" sz="2800" b="1" kern="100" dirty="0">
                <a:solidFill>
                  <a:srgbClr val="EF3F50"/>
                </a:solidFill>
                <a:effectLst/>
                <a:latin typeface="Verdana" panose="020B0604030504040204" pitchFamily="34" charset="0"/>
                <a:ea typeface="Verdana" panose="020B0604030504040204" pitchFamily="34" charset="0"/>
                <a:cs typeface="Times New Roman" panose="02020603050405020304" pitchFamily="18" charset="0"/>
              </a:rPr>
              <a:t>Sociale forhold</a:t>
            </a:r>
          </a:p>
        </p:txBody>
      </p:sp>
      <p:sp>
        <p:nvSpPr>
          <p:cNvPr id="2" name="Tekstfelt 6">
            <a:extLst>
              <a:ext uri="{FF2B5EF4-FFF2-40B4-BE49-F238E27FC236}">
                <a16:creationId xmlns:a16="http://schemas.microsoft.com/office/drawing/2014/main" id="{9791D76D-E62A-8C71-2546-FDBE1DFDE95C}"/>
              </a:ext>
            </a:extLst>
          </p:cNvPr>
          <p:cNvSpPr txBox="1"/>
          <p:nvPr/>
        </p:nvSpPr>
        <p:spPr>
          <a:xfrm>
            <a:off x="4572000" y="852181"/>
            <a:ext cx="7331187" cy="313598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da-DK" sz="1100" u="none" strike="noStrike" kern="1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a:rPr>
              <a:t>Den sociale dimension spiller en unik og afgørende rolle i den danske almene boligsektor, idet sektoren har til formål at fremme sociale værdier, fællesskab og trivsel for beboerne. Den almene boligsektor administrerer boliger for en bred og mangfoldig beboersammensætning, hvor hensynet til inklusion, lighed og sociale behov er fundamentalt. Derfor er det en kerneopgave for sektoren at skabe boligområder, der understøtter velfærd, tryghed og social sammenhængskraft, samtidig med at der aktivt arbejdes for at modvirke social ulighed og boligmæssig marginalisering. </a:t>
            </a:r>
            <a:br>
              <a:rPr lang="da-DK" sz="1100" u="none" strike="noStrike" kern="100" cap="none" spc="0" normalizeH="0" baseline="0" noProof="0" dirty="0">
                <a:ln>
                  <a:noFill/>
                </a:ln>
                <a:effectLst/>
                <a:uLnTx/>
                <a:uFillTx/>
                <a:latin typeface="Verdana" panose="020B0604030504040204" pitchFamily="34" charset="0"/>
                <a:ea typeface="Verdana" panose="020B0604030504040204" pitchFamily="34" charset="0"/>
                <a:cs typeface="Arial" panose="020B0604020202020204" pitchFamily="34" charset="0"/>
              </a:rPr>
            </a:br>
            <a:br>
              <a:rPr lang="da-DK" sz="1100" u="none" strike="noStrike" kern="100" cap="none" spc="0" normalizeH="0" baseline="0" noProof="0" dirty="0">
                <a:ln>
                  <a:noFill/>
                </a:ln>
                <a:effectLst/>
                <a:uLnTx/>
                <a:uFillTx/>
                <a:latin typeface="Verdana" panose="020B0604030504040204" pitchFamily="34" charset="0"/>
                <a:ea typeface="Verdana" panose="020B0604030504040204" pitchFamily="34" charset="0"/>
                <a:cs typeface="Arial" panose="020B0604020202020204" pitchFamily="34" charset="0"/>
              </a:rPr>
            </a:b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Her kan I beskrive jeres tilgang og systematik i forhold til arbejdet med S. </a:t>
            </a:r>
            <a:endParaRPr lang="en-US" sz="1100" kern="100" dirty="0">
              <a:solidFill>
                <a:schemeClr val="bg1">
                  <a:lumMod val="50000"/>
                </a:schemeClr>
              </a:solidFill>
              <a:latin typeface="Verdana" panose="020B0604030504040204" pitchFamily="34" charset="0"/>
              <a:ea typeface="Verdana" panose="020B0604030504040204" pitchFamily="34" charset="0"/>
              <a:cs typeface="Arial"/>
            </a:endParaRPr>
          </a:p>
          <a:p>
            <a:pPr>
              <a:lnSpc>
                <a:spcPct val="107000"/>
              </a:lnSpc>
              <a:spcAft>
                <a:spcPts val="800"/>
              </a:spcAft>
              <a:defRPr/>
            </a:pP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I kan med fordel kan beskrive nedenstående, hvilket er godt at inkludere, hvis ESG rapporten bruges i ledelsesberetningen i årsrapporten:</a:t>
            </a:r>
            <a:endParaRPr lang="da-DK" sz="1100" kern="100" dirty="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Hvilke politikker boligorganisationen fører indenfor det sociale?</a:t>
            </a:r>
            <a:endParaRPr lang="en-US" sz="1100" kern="100" dirty="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Hvordan er disse implementeret?</a:t>
            </a:r>
            <a:endParaRPr lang="en-US" sz="1100" kern="100" dirty="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Hvilke resultater er opnået – kan også inkluderes på næste slide.</a:t>
            </a:r>
            <a:endParaRPr lang="en-US" sz="1100" kern="100" dirty="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dirty="0">
                <a:solidFill>
                  <a:schemeClr val="bg1">
                    <a:lumMod val="50000"/>
                  </a:schemeClr>
                </a:solidFill>
                <a:latin typeface="Verdana" panose="020B0604030504040204" pitchFamily="34" charset="0"/>
                <a:ea typeface="Verdana" panose="020B0604030504040204" pitchFamily="34" charset="0"/>
                <a:cs typeface="Arial"/>
              </a:rPr>
              <a:t>Hvilke risici har I identificeret?</a:t>
            </a:r>
            <a:endParaRPr lang="da-DK" dirty="0">
              <a:solidFill>
                <a:schemeClr val="bg1">
                  <a:lumMod val="50000"/>
                </a:schemeClr>
              </a:solidFill>
              <a:latin typeface="Verdana" panose="020B0604030504040204" pitchFamily="34" charset="0"/>
              <a:ea typeface="Verdana" panose="020B0604030504040204" pitchFamily="34" charset="0"/>
              <a:cs typeface="Arial"/>
            </a:endParaRPr>
          </a:p>
        </p:txBody>
      </p:sp>
      <p:sp>
        <p:nvSpPr>
          <p:cNvPr id="3" name="Freeform: Shape 23">
            <a:extLst>
              <a:ext uri="{FF2B5EF4-FFF2-40B4-BE49-F238E27FC236}">
                <a16:creationId xmlns:a16="http://schemas.microsoft.com/office/drawing/2014/main" id="{6F1A7900-D1B4-61B2-ED79-656013F1D6A2}"/>
              </a:ext>
            </a:extLst>
          </p:cNvPr>
          <p:cNvSpPr/>
          <p:nvPr/>
        </p:nvSpPr>
        <p:spPr>
          <a:xfrm>
            <a:off x="4325235" y="631405"/>
            <a:ext cx="3240000" cy="1749462"/>
          </a:xfrm>
          <a:custGeom>
            <a:avLst/>
            <a:gdLst>
              <a:gd name="connsiteX0" fmla="*/ 405429 w 6457064"/>
              <a:gd name="connsiteY0" fmla="*/ 121 h 3268876"/>
              <a:gd name="connsiteX1" fmla="*/ 565759 w 6457064"/>
              <a:gd name="connsiteY1" fmla="*/ 3595 h 3268876"/>
              <a:gd name="connsiteX2" fmla="*/ 6457064 w 6457064"/>
              <a:gd name="connsiteY2" fmla="*/ 3595 h 3268876"/>
              <a:gd name="connsiteX3" fmla="*/ 2142273 w 6457064"/>
              <a:gd name="connsiteY3" fmla="*/ 3268876 h 3268876"/>
              <a:gd name="connsiteX4" fmla="*/ 0 w 6457064"/>
              <a:gd name="connsiteY4" fmla="*/ 3268876 h 3268876"/>
              <a:gd name="connsiteX5" fmla="*/ 0 w 6457064"/>
              <a:gd name="connsiteY5" fmla="*/ 540587 h 3268876"/>
              <a:gd name="connsiteX6" fmla="*/ 75435 w 6457064"/>
              <a:gd name="connsiteY6" fmla="*/ 167026 h 3268876"/>
              <a:gd name="connsiteX7" fmla="*/ 405429 w 6457064"/>
              <a:gd name="connsiteY7" fmla="*/ 121 h 3268876"/>
              <a:gd name="connsiteX0" fmla="*/ 2142273 w 6548504"/>
              <a:gd name="connsiteY0" fmla="*/ 3268876 h 3268876"/>
              <a:gd name="connsiteX1" fmla="*/ 0 w 6548504"/>
              <a:gd name="connsiteY1" fmla="*/ 3268876 h 3268876"/>
              <a:gd name="connsiteX2" fmla="*/ 0 w 6548504"/>
              <a:gd name="connsiteY2" fmla="*/ 540587 h 3268876"/>
              <a:gd name="connsiteX3" fmla="*/ 75435 w 6548504"/>
              <a:gd name="connsiteY3" fmla="*/ 167026 h 3268876"/>
              <a:gd name="connsiteX4" fmla="*/ 405429 w 6548504"/>
              <a:gd name="connsiteY4" fmla="*/ 121 h 3268876"/>
              <a:gd name="connsiteX5" fmla="*/ 565759 w 6548504"/>
              <a:gd name="connsiteY5" fmla="*/ 3595 h 3268876"/>
              <a:gd name="connsiteX6" fmla="*/ 6548504 w 6548504"/>
              <a:gd name="connsiteY6" fmla="*/ 95035 h 3268876"/>
              <a:gd name="connsiteX0" fmla="*/ 2142273 w 6459604"/>
              <a:gd name="connsiteY0" fmla="*/ 3288141 h 3288141"/>
              <a:gd name="connsiteX1" fmla="*/ 0 w 6459604"/>
              <a:gd name="connsiteY1" fmla="*/ 3288141 h 3288141"/>
              <a:gd name="connsiteX2" fmla="*/ 0 w 6459604"/>
              <a:gd name="connsiteY2" fmla="*/ 559852 h 3288141"/>
              <a:gd name="connsiteX3" fmla="*/ 75435 w 6459604"/>
              <a:gd name="connsiteY3" fmla="*/ 186291 h 3288141"/>
              <a:gd name="connsiteX4" fmla="*/ 405429 w 6459604"/>
              <a:gd name="connsiteY4" fmla="*/ 19386 h 3288141"/>
              <a:gd name="connsiteX5" fmla="*/ 565759 w 6459604"/>
              <a:gd name="connsiteY5" fmla="*/ 22860 h 3288141"/>
              <a:gd name="connsiteX6" fmla="*/ 6459604 w 6459604"/>
              <a:gd name="connsiteY6" fmla="*/ 0 h 3288141"/>
              <a:gd name="connsiteX0" fmla="*/ 0 w 6459604"/>
              <a:gd name="connsiteY0" fmla="*/ 3288141 h 3288141"/>
              <a:gd name="connsiteX1" fmla="*/ 0 w 6459604"/>
              <a:gd name="connsiteY1" fmla="*/ 559852 h 3288141"/>
              <a:gd name="connsiteX2" fmla="*/ 75435 w 6459604"/>
              <a:gd name="connsiteY2" fmla="*/ 186291 h 3288141"/>
              <a:gd name="connsiteX3" fmla="*/ 405429 w 6459604"/>
              <a:gd name="connsiteY3" fmla="*/ 19386 h 3288141"/>
              <a:gd name="connsiteX4" fmla="*/ 565759 w 6459604"/>
              <a:gd name="connsiteY4" fmla="*/ 22860 h 3288141"/>
              <a:gd name="connsiteX5" fmla="*/ 6459604 w 6459604"/>
              <a:gd name="connsiteY5" fmla="*/ 0 h 328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9604" h="3288141">
                <a:moveTo>
                  <a:pt x="0" y="3288141"/>
                </a:moveTo>
                <a:lnTo>
                  <a:pt x="0" y="559852"/>
                </a:lnTo>
                <a:cubicBezTo>
                  <a:pt x="25145" y="435332"/>
                  <a:pt x="-38994" y="568702"/>
                  <a:pt x="75435" y="186291"/>
                </a:cubicBezTo>
                <a:cubicBezTo>
                  <a:pt x="264389" y="37113"/>
                  <a:pt x="333213" y="17456"/>
                  <a:pt x="405429" y="19386"/>
                </a:cubicBezTo>
                <a:cubicBezTo>
                  <a:pt x="448758" y="20544"/>
                  <a:pt x="493308" y="29473"/>
                  <a:pt x="565759" y="22860"/>
                </a:cubicBezTo>
                <a:lnTo>
                  <a:pt x="6459604" y="0"/>
                </a:lnTo>
              </a:path>
            </a:pathLst>
          </a:custGeom>
          <a:noFill/>
          <a:ln w="12700" cap="rnd">
            <a:solidFill>
              <a:srgbClr val="E63D4D"/>
            </a:solidFill>
            <a:prstDash val="solid"/>
            <a:round/>
            <a:headEnd type="none"/>
            <a:tailEnd type="none"/>
          </a:ln>
        </p:spPr>
        <p:txBody>
          <a:bodyPr wrap="square" rtlCol="0" anchor="ctr">
            <a:noAutofit/>
          </a:bodyPr>
          <a:lstStyle/>
          <a:p>
            <a:pPr defTabSz="914400"/>
            <a:endParaRPr lang="en-GB" sz="1801">
              <a:solidFill>
                <a:srgbClr val="000000"/>
              </a:solidFill>
              <a:latin typeface="Verdana" panose="020B0604030504040204" pitchFamily="34" charset="0"/>
              <a:ea typeface="Verdana" panose="020B0604030504040204" pitchFamily="34" charset="0"/>
            </a:endParaRPr>
          </a:p>
        </p:txBody>
      </p:sp>
      <p:pic>
        <p:nvPicPr>
          <p:cNvPr id="14" name="Picture 13" descr="A pink circle with a white letter&#10;&#10;AI-generated content may be incorrect.">
            <a:extLst>
              <a:ext uri="{FF2B5EF4-FFF2-40B4-BE49-F238E27FC236}">
                <a16:creationId xmlns:a16="http://schemas.microsoft.com/office/drawing/2014/main" id="{9A95C8E6-ED36-3AD0-6703-09F0961D3E3E}"/>
              </a:ext>
            </a:extLst>
          </p:cNvPr>
          <p:cNvPicPr>
            <a:picLocks noChangeAspect="1"/>
          </p:cNvPicPr>
          <p:nvPr/>
        </p:nvPicPr>
        <p:blipFill>
          <a:blip r:embed="rId5">
            <a:alphaModFix/>
          </a:blip>
          <a:stretch>
            <a:fillRect/>
          </a:stretch>
        </p:blipFill>
        <p:spPr>
          <a:xfrm>
            <a:off x="254176" y="4796720"/>
            <a:ext cx="980308" cy="1080000"/>
          </a:xfrm>
          <a:prstGeom prst="rect">
            <a:avLst/>
          </a:prstGeom>
        </p:spPr>
      </p:pic>
    </p:spTree>
    <p:extLst>
      <p:ext uri="{BB962C8B-B14F-4D97-AF65-F5344CB8AC3E}">
        <p14:creationId xmlns:p14="http://schemas.microsoft.com/office/powerpoint/2010/main" val="21101179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5EB59-161F-ECF5-BFBD-54AB7D779C1A}"/>
            </a:ext>
          </a:extLst>
        </p:cNvPr>
        <p:cNvGrpSpPr/>
        <p:nvPr/>
      </p:nvGrpSpPr>
      <p:grpSpPr>
        <a:xfrm>
          <a:off x="0" y="0"/>
          <a:ext cx="0" cy="0"/>
          <a:chOff x="0" y="0"/>
          <a:chExt cx="0" cy="0"/>
        </a:xfrm>
      </p:grpSpPr>
      <p:sp>
        <p:nvSpPr>
          <p:cNvPr id="32" name="Title 1">
            <a:extLst>
              <a:ext uri="{FF2B5EF4-FFF2-40B4-BE49-F238E27FC236}">
                <a16:creationId xmlns:a16="http://schemas.microsoft.com/office/drawing/2014/main" id="{23ABCAF4-E845-7F77-AEBA-1FD9931CCB85}"/>
              </a:ext>
            </a:extLst>
          </p:cNvPr>
          <p:cNvSpPr txBox="1">
            <a:spLocks/>
          </p:cNvSpPr>
          <p:nvPr/>
        </p:nvSpPr>
        <p:spPr>
          <a:xfrm>
            <a:off x="522889" y="500062"/>
            <a:ext cx="1108575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Målsætninger for [målepunkt] og [målepunkt]</a:t>
            </a:r>
            <a:endParaRPr lang="da-DK" sz="4000" dirty="0">
              <a:solidFill>
                <a:srgbClr val="005850"/>
              </a:solidFill>
              <a:latin typeface="Verdana" panose="020B0604030504040204" pitchFamily="34" charset="0"/>
              <a:ea typeface="Verdana" panose="020B0604030504040204" pitchFamily="34" charset="0"/>
            </a:endParaRPr>
          </a:p>
        </p:txBody>
      </p:sp>
      <p:sp>
        <p:nvSpPr>
          <p:cNvPr id="2" name="Rectangle 1">
            <a:extLst>
              <a:ext uri="{FF2B5EF4-FFF2-40B4-BE49-F238E27FC236}">
                <a16:creationId xmlns:a16="http://schemas.microsoft.com/office/drawing/2014/main" id="{3B186E40-B1FE-237C-669A-CCC1F9FD4633}"/>
              </a:ext>
            </a:extLst>
          </p:cNvPr>
          <p:cNvSpPr/>
          <p:nvPr/>
        </p:nvSpPr>
        <p:spPr>
          <a:xfrm>
            <a:off x="1116010" y="1988099"/>
            <a:ext cx="5115998" cy="4369839"/>
          </a:xfrm>
          <a:prstGeom prst="rect">
            <a:avLst/>
          </a:prstGeom>
          <a:solidFill>
            <a:srgbClr val="FCD9DC">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27" name="Rectangle: Rounded Corners 26">
            <a:extLst>
              <a:ext uri="{FF2B5EF4-FFF2-40B4-BE49-F238E27FC236}">
                <a16:creationId xmlns:a16="http://schemas.microsoft.com/office/drawing/2014/main" id="{66B0DE25-468C-3EB4-6DD9-66B7272FC604}"/>
              </a:ext>
            </a:extLst>
          </p:cNvPr>
          <p:cNvSpPr/>
          <p:nvPr/>
        </p:nvSpPr>
        <p:spPr>
          <a:xfrm>
            <a:off x="985520" y="2313135"/>
            <a:ext cx="10623124" cy="1849941"/>
          </a:xfrm>
          <a:custGeom>
            <a:avLst/>
            <a:gdLst>
              <a:gd name="connsiteX0" fmla="*/ 0 w 10623124"/>
              <a:gd name="connsiteY0" fmla="*/ 0 h 1849941"/>
              <a:gd name="connsiteX1" fmla="*/ 0 w 10623124"/>
              <a:gd name="connsiteY1" fmla="*/ 0 h 1849941"/>
              <a:gd name="connsiteX2" fmla="*/ 770176 w 10623124"/>
              <a:gd name="connsiteY2" fmla="*/ 0 h 1849941"/>
              <a:gd name="connsiteX3" fmla="*/ 1327891 w 10623124"/>
              <a:gd name="connsiteY3" fmla="*/ 0 h 1849941"/>
              <a:gd name="connsiteX4" fmla="*/ 1991836 w 10623124"/>
              <a:gd name="connsiteY4" fmla="*/ 0 h 1849941"/>
              <a:gd name="connsiteX5" fmla="*/ 2443319 w 10623124"/>
              <a:gd name="connsiteY5" fmla="*/ 0 h 1849941"/>
              <a:gd name="connsiteX6" fmla="*/ 2894801 w 10623124"/>
              <a:gd name="connsiteY6" fmla="*/ 0 h 1849941"/>
              <a:gd name="connsiteX7" fmla="*/ 3240053 w 10623124"/>
              <a:gd name="connsiteY7" fmla="*/ 0 h 1849941"/>
              <a:gd name="connsiteX8" fmla="*/ 4010229 w 10623124"/>
              <a:gd name="connsiteY8" fmla="*/ 0 h 1849941"/>
              <a:gd name="connsiteX9" fmla="*/ 4886637 w 10623124"/>
              <a:gd name="connsiteY9" fmla="*/ 0 h 1849941"/>
              <a:gd name="connsiteX10" fmla="*/ 5231889 w 10623124"/>
              <a:gd name="connsiteY10" fmla="*/ 0 h 1849941"/>
              <a:gd name="connsiteX11" fmla="*/ 5895834 w 10623124"/>
              <a:gd name="connsiteY11" fmla="*/ 0 h 1849941"/>
              <a:gd name="connsiteX12" fmla="*/ 6241085 w 10623124"/>
              <a:gd name="connsiteY12" fmla="*/ 0 h 1849941"/>
              <a:gd name="connsiteX13" fmla="*/ 7011262 w 10623124"/>
              <a:gd name="connsiteY13" fmla="*/ 0 h 1849941"/>
              <a:gd name="connsiteX14" fmla="*/ 7356513 w 10623124"/>
              <a:gd name="connsiteY14" fmla="*/ 0 h 1849941"/>
              <a:gd name="connsiteX15" fmla="*/ 7807996 w 10623124"/>
              <a:gd name="connsiteY15" fmla="*/ 0 h 1849941"/>
              <a:gd name="connsiteX16" fmla="*/ 8578173 w 10623124"/>
              <a:gd name="connsiteY16" fmla="*/ 0 h 1849941"/>
              <a:gd name="connsiteX17" fmla="*/ 8923424 w 10623124"/>
              <a:gd name="connsiteY17" fmla="*/ 0 h 1849941"/>
              <a:gd name="connsiteX18" fmla="*/ 9481138 w 10623124"/>
              <a:gd name="connsiteY18" fmla="*/ 0 h 1849941"/>
              <a:gd name="connsiteX19" fmla="*/ 10038852 w 10623124"/>
              <a:gd name="connsiteY19" fmla="*/ 0 h 1849941"/>
              <a:gd name="connsiteX20" fmla="*/ 10623124 w 10623124"/>
              <a:gd name="connsiteY20" fmla="*/ 0 h 1849941"/>
              <a:gd name="connsiteX21" fmla="*/ 10623124 w 10623124"/>
              <a:gd name="connsiteY21" fmla="*/ 0 h 1849941"/>
              <a:gd name="connsiteX22" fmla="*/ 10623124 w 10623124"/>
              <a:gd name="connsiteY22" fmla="*/ 561149 h 1849941"/>
              <a:gd name="connsiteX23" fmla="*/ 10623124 w 10623124"/>
              <a:gd name="connsiteY23" fmla="*/ 1122298 h 1849941"/>
              <a:gd name="connsiteX24" fmla="*/ 10623124 w 10623124"/>
              <a:gd name="connsiteY24" fmla="*/ 1849941 h 1849941"/>
              <a:gd name="connsiteX25" fmla="*/ 10623124 w 10623124"/>
              <a:gd name="connsiteY25" fmla="*/ 1849941 h 1849941"/>
              <a:gd name="connsiteX26" fmla="*/ 9959179 w 10623124"/>
              <a:gd name="connsiteY26" fmla="*/ 1849941 h 1849941"/>
              <a:gd name="connsiteX27" fmla="*/ 9189002 w 10623124"/>
              <a:gd name="connsiteY27" fmla="*/ 1849941 h 1849941"/>
              <a:gd name="connsiteX28" fmla="*/ 8312595 w 10623124"/>
              <a:gd name="connsiteY28" fmla="*/ 1849941 h 1849941"/>
              <a:gd name="connsiteX29" fmla="*/ 7436187 w 10623124"/>
              <a:gd name="connsiteY29" fmla="*/ 1849941 h 1849941"/>
              <a:gd name="connsiteX30" fmla="*/ 6666010 w 10623124"/>
              <a:gd name="connsiteY30" fmla="*/ 1849941 h 1849941"/>
              <a:gd name="connsiteX31" fmla="*/ 5789603 w 10623124"/>
              <a:gd name="connsiteY31" fmla="*/ 1849941 h 1849941"/>
              <a:gd name="connsiteX32" fmla="*/ 5444351 w 10623124"/>
              <a:gd name="connsiteY32" fmla="*/ 1849941 h 1849941"/>
              <a:gd name="connsiteX33" fmla="*/ 4780406 w 10623124"/>
              <a:gd name="connsiteY33" fmla="*/ 1849941 h 1849941"/>
              <a:gd name="connsiteX34" fmla="*/ 4435154 w 10623124"/>
              <a:gd name="connsiteY34" fmla="*/ 1849941 h 1849941"/>
              <a:gd name="connsiteX35" fmla="*/ 3877440 w 10623124"/>
              <a:gd name="connsiteY35" fmla="*/ 1849941 h 1849941"/>
              <a:gd name="connsiteX36" fmla="*/ 3532189 w 10623124"/>
              <a:gd name="connsiteY36" fmla="*/ 1849941 h 1849941"/>
              <a:gd name="connsiteX37" fmla="*/ 2762012 w 10623124"/>
              <a:gd name="connsiteY37" fmla="*/ 1849941 h 1849941"/>
              <a:gd name="connsiteX38" fmla="*/ 2416761 w 10623124"/>
              <a:gd name="connsiteY38" fmla="*/ 1849941 h 1849941"/>
              <a:gd name="connsiteX39" fmla="*/ 2071509 w 10623124"/>
              <a:gd name="connsiteY39" fmla="*/ 1849941 h 1849941"/>
              <a:gd name="connsiteX40" fmla="*/ 1407564 w 10623124"/>
              <a:gd name="connsiteY40" fmla="*/ 1849941 h 1849941"/>
              <a:gd name="connsiteX41" fmla="*/ 1062312 w 10623124"/>
              <a:gd name="connsiteY41" fmla="*/ 1849941 h 1849941"/>
              <a:gd name="connsiteX42" fmla="*/ 0 w 10623124"/>
              <a:gd name="connsiteY42" fmla="*/ 1849941 h 1849941"/>
              <a:gd name="connsiteX43" fmla="*/ 0 w 10623124"/>
              <a:gd name="connsiteY43" fmla="*/ 1849941 h 1849941"/>
              <a:gd name="connsiteX44" fmla="*/ 0 w 10623124"/>
              <a:gd name="connsiteY44" fmla="*/ 1288792 h 1849941"/>
              <a:gd name="connsiteX45" fmla="*/ 0 w 10623124"/>
              <a:gd name="connsiteY45" fmla="*/ 727643 h 1849941"/>
              <a:gd name="connsiteX46" fmla="*/ 0 w 10623124"/>
              <a:gd name="connsiteY46" fmla="*/ 0 h 184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623124" h="1849941" fill="none" extrusionOk="0">
                <a:moveTo>
                  <a:pt x="0" y="0"/>
                </a:moveTo>
                <a:lnTo>
                  <a:pt x="0" y="0"/>
                </a:lnTo>
                <a:cubicBezTo>
                  <a:pt x="179565" y="-12364"/>
                  <a:pt x="564079" y="9309"/>
                  <a:pt x="770176" y="0"/>
                </a:cubicBezTo>
                <a:cubicBezTo>
                  <a:pt x="976273" y="-9309"/>
                  <a:pt x="1166553" y="5080"/>
                  <a:pt x="1327891" y="0"/>
                </a:cubicBezTo>
                <a:cubicBezTo>
                  <a:pt x="1489229" y="-5080"/>
                  <a:pt x="1711165" y="-13672"/>
                  <a:pt x="1991836" y="0"/>
                </a:cubicBezTo>
                <a:cubicBezTo>
                  <a:pt x="2272507" y="13672"/>
                  <a:pt x="2254889" y="-18881"/>
                  <a:pt x="2443319" y="0"/>
                </a:cubicBezTo>
                <a:cubicBezTo>
                  <a:pt x="2631749" y="18881"/>
                  <a:pt x="2747716" y="9640"/>
                  <a:pt x="2894801" y="0"/>
                </a:cubicBezTo>
                <a:cubicBezTo>
                  <a:pt x="3041886" y="-9640"/>
                  <a:pt x="3161556" y="226"/>
                  <a:pt x="3240053" y="0"/>
                </a:cubicBezTo>
                <a:cubicBezTo>
                  <a:pt x="3318550" y="-226"/>
                  <a:pt x="3649806" y="-9361"/>
                  <a:pt x="4010229" y="0"/>
                </a:cubicBezTo>
                <a:cubicBezTo>
                  <a:pt x="4370652" y="9361"/>
                  <a:pt x="4531510" y="-26184"/>
                  <a:pt x="4886637" y="0"/>
                </a:cubicBezTo>
                <a:cubicBezTo>
                  <a:pt x="5241764" y="26184"/>
                  <a:pt x="5089164" y="4804"/>
                  <a:pt x="5231889" y="0"/>
                </a:cubicBezTo>
                <a:cubicBezTo>
                  <a:pt x="5374614" y="-4804"/>
                  <a:pt x="5691844" y="-32510"/>
                  <a:pt x="5895834" y="0"/>
                </a:cubicBezTo>
                <a:cubicBezTo>
                  <a:pt x="6099824" y="32510"/>
                  <a:pt x="6163915" y="-9325"/>
                  <a:pt x="6241085" y="0"/>
                </a:cubicBezTo>
                <a:cubicBezTo>
                  <a:pt x="6318255" y="9325"/>
                  <a:pt x="6664936" y="6104"/>
                  <a:pt x="7011262" y="0"/>
                </a:cubicBezTo>
                <a:cubicBezTo>
                  <a:pt x="7357588" y="-6104"/>
                  <a:pt x="7283737" y="-16869"/>
                  <a:pt x="7356513" y="0"/>
                </a:cubicBezTo>
                <a:cubicBezTo>
                  <a:pt x="7429289" y="16869"/>
                  <a:pt x="7584136" y="18179"/>
                  <a:pt x="7807996" y="0"/>
                </a:cubicBezTo>
                <a:cubicBezTo>
                  <a:pt x="8031856" y="-18179"/>
                  <a:pt x="8303279" y="-21355"/>
                  <a:pt x="8578173" y="0"/>
                </a:cubicBezTo>
                <a:cubicBezTo>
                  <a:pt x="8853067" y="21355"/>
                  <a:pt x="8796397" y="-7729"/>
                  <a:pt x="8923424" y="0"/>
                </a:cubicBezTo>
                <a:cubicBezTo>
                  <a:pt x="9050451" y="7729"/>
                  <a:pt x="9342386" y="1773"/>
                  <a:pt x="9481138" y="0"/>
                </a:cubicBezTo>
                <a:cubicBezTo>
                  <a:pt x="9619890" y="-1773"/>
                  <a:pt x="9762348" y="19550"/>
                  <a:pt x="10038852" y="0"/>
                </a:cubicBezTo>
                <a:cubicBezTo>
                  <a:pt x="10315356" y="-19550"/>
                  <a:pt x="10413379" y="22843"/>
                  <a:pt x="10623124" y="0"/>
                </a:cubicBezTo>
                <a:lnTo>
                  <a:pt x="10623124" y="0"/>
                </a:lnTo>
                <a:cubicBezTo>
                  <a:pt x="10604702" y="228184"/>
                  <a:pt x="10645663" y="353222"/>
                  <a:pt x="10623124" y="561149"/>
                </a:cubicBezTo>
                <a:cubicBezTo>
                  <a:pt x="10600585" y="769076"/>
                  <a:pt x="10643394" y="923488"/>
                  <a:pt x="10623124" y="1122298"/>
                </a:cubicBezTo>
                <a:cubicBezTo>
                  <a:pt x="10602854" y="1321108"/>
                  <a:pt x="10606320" y="1588223"/>
                  <a:pt x="10623124" y="1849941"/>
                </a:cubicBezTo>
                <a:lnTo>
                  <a:pt x="10623124" y="1849941"/>
                </a:lnTo>
                <a:cubicBezTo>
                  <a:pt x="10308411" y="1853597"/>
                  <a:pt x="10102221" y="1859973"/>
                  <a:pt x="9959179" y="1849941"/>
                </a:cubicBezTo>
                <a:cubicBezTo>
                  <a:pt x="9816137" y="1839909"/>
                  <a:pt x="9461845" y="1885266"/>
                  <a:pt x="9189002" y="1849941"/>
                </a:cubicBezTo>
                <a:cubicBezTo>
                  <a:pt x="8916159" y="1814616"/>
                  <a:pt x="8705939" y="1829521"/>
                  <a:pt x="8312595" y="1849941"/>
                </a:cubicBezTo>
                <a:cubicBezTo>
                  <a:pt x="7919251" y="1870361"/>
                  <a:pt x="7727485" y="1835478"/>
                  <a:pt x="7436187" y="1849941"/>
                </a:cubicBezTo>
                <a:cubicBezTo>
                  <a:pt x="7144889" y="1864404"/>
                  <a:pt x="6934389" y="1852537"/>
                  <a:pt x="6666010" y="1849941"/>
                </a:cubicBezTo>
                <a:cubicBezTo>
                  <a:pt x="6397631" y="1847345"/>
                  <a:pt x="6048436" y="1853263"/>
                  <a:pt x="5789603" y="1849941"/>
                </a:cubicBezTo>
                <a:cubicBezTo>
                  <a:pt x="5530770" y="1846619"/>
                  <a:pt x="5576857" y="1841566"/>
                  <a:pt x="5444351" y="1849941"/>
                </a:cubicBezTo>
                <a:cubicBezTo>
                  <a:pt x="5311845" y="1858316"/>
                  <a:pt x="5026903" y="1881159"/>
                  <a:pt x="4780406" y="1849941"/>
                </a:cubicBezTo>
                <a:cubicBezTo>
                  <a:pt x="4533909" y="1818723"/>
                  <a:pt x="4515711" y="1835244"/>
                  <a:pt x="4435154" y="1849941"/>
                </a:cubicBezTo>
                <a:cubicBezTo>
                  <a:pt x="4354597" y="1864638"/>
                  <a:pt x="4006695" y="1849683"/>
                  <a:pt x="3877440" y="1849941"/>
                </a:cubicBezTo>
                <a:cubicBezTo>
                  <a:pt x="3748185" y="1850199"/>
                  <a:pt x="3704276" y="1861594"/>
                  <a:pt x="3532189" y="1849941"/>
                </a:cubicBezTo>
                <a:cubicBezTo>
                  <a:pt x="3360102" y="1838288"/>
                  <a:pt x="2930165" y="1866550"/>
                  <a:pt x="2762012" y="1849941"/>
                </a:cubicBezTo>
                <a:cubicBezTo>
                  <a:pt x="2593859" y="1833332"/>
                  <a:pt x="2549261" y="1862003"/>
                  <a:pt x="2416761" y="1849941"/>
                </a:cubicBezTo>
                <a:cubicBezTo>
                  <a:pt x="2284261" y="1837879"/>
                  <a:pt x="2242363" y="1859330"/>
                  <a:pt x="2071509" y="1849941"/>
                </a:cubicBezTo>
                <a:cubicBezTo>
                  <a:pt x="1900655" y="1840552"/>
                  <a:pt x="1631973" y="1835236"/>
                  <a:pt x="1407564" y="1849941"/>
                </a:cubicBezTo>
                <a:cubicBezTo>
                  <a:pt x="1183156" y="1864646"/>
                  <a:pt x="1201090" y="1840783"/>
                  <a:pt x="1062312" y="1849941"/>
                </a:cubicBezTo>
                <a:cubicBezTo>
                  <a:pt x="923534" y="1859099"/>
                  <a:pt x="414124" y="1804747"/>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4" h="1849941" stroke="0" extrusionOk="0">
                <a:moveTo>
                  <a:pt x="0" y="0"/>
                </a:moveTo>
                <a:lnTo>
                  <a:pt x="0" y="0"/>
                </a:lnTo>
                <a:cubicBezTo>
                  <a:pt x="355116" y="3983"/>
                  <a:pt x="594171" y="1200"/>
                  <a:pt x="770176" y="0"/>
                </a:cubicBezTo>
                <a:cubicBezTo>
                  <a:pt x="946181" y="-1200"/>
                  <a:pt x="954404" y="-161"/>
                  <a:pt x="1115428" y="0"/>
                </a:cubicBezTo>
                <a:cubicBezTo>
                  <a:pt x="1276452" y="161"/>
                  <a:pt x="1422520" y="5265"/>
                  <a:pt x="1673142" y="0"/>
                </a:cubicBezTo>
                <a:cubicBezTo>
                  <a:pt x="1923764" y="-5265"/>
                  <a:pt x="1972363" y="3662"/>
                  <a:pt x="2124625" y="0"/>
                </a:cubicBezTo>
                <a:cubicBezTo>
                  <a:pt x="2276887" y="-3662"/>
                  <a:pt x="2312049" y="2082"/>
                  <a:pt x="2469876" y="0"/>
                </a:cubicBezTo>
                <a:cubicBezTo>
                  <a:pt x="2627703" y="-2082"/>
                  <a:pt x="2737560" y="4189"/>
                  <a:pt x="2921359" y="0"/>
                </a:cubicBezTo>
                <a:cubicBezTo>
                  <a:pt x="3105158" y="-4189"/>
                  <a:pt x="3234743" y="22542"/>
                  <a:pt x="3372842" y="0"/>
                </a:cubicBezTo>
                <a:cubicBezTo>
                  <a:pt x="3510941" y="-22542"/>
                  <a:pt x="3738839" y="-21056"/>
                  <a:pt x="3930556" y="0"/>
                </a:cubicBezTo>
                <a:cubicBezTo>
                  <a:pt x="4122273" y="21056"/>
                  <a:pt x="4342746" y="-19994"/>
                  <a:pt x="4700732" y="0"/>
                </a:cubicBezTo>
                <a:cubicBezTo>
                  <a:pt x="5058718" y="19994"/>
                  <a:pt x="5091659" y="14119"/>
                  <a:pt x="5258446" y="0"/>
                </a:cubicBezTo>
                <a:cubicBezTo>
                  <a:pt x="5425233" y="-14119"/>
                  <a:pt x="5836539" y="-18180"/>
                  <a:pt x="6134854" y="0"/>
                </a:cubicBezTo>
                <a:cubicBezTo>
                  <a:pt x="6433169" y="18180"/>
                  <a:pt x="6335729" y="-13066"/>
                  <a:pt x="6480106" y="0"/>
                </a:cubicBezTo>
                <a:cubicBezTo>
                  <a:pt x="6624483" y="13066"/>
                  <a:pt x="6911049" y="-21879"/>
                  <a:pt x="7250282" y="0"/>
                </a:cubicBezTo>
                <a:cubicBezTo>
                  <a:pt x="7589515" y="21879"/>
                  <a:pt x="7500710" y="-7088"/>
                  <a:pt x="7701765" y="0"/>
                </a:cubicBezTo>
                <a:cubicBezTo>
                  <a:pt x="7902820" y="7088"/>
                  <a:pt x="8248208" y="11902"/>
                  <a:pt x="8471941" y="0"/>
                </a:cubicBezTo>
                <a:cubicBezTo>
                  <a:pt x="8695674" y="-11902"/>
                  <a:pt x="8769883" y="4371"/>
                  <a:pt x="8923424" y="0"/>
                </a:cubicBezTo>
                <a:cubicBezTo>
                  <a:pt x="9076965" y="-4371"/>
                  <a:pt x="9160086" y="8065"/>
                  <a:pt x="9374907" y="0"/>
                </a:cubicBezTo>
                <a:cubicBezTo>
                  <a:pt x="9589728" y="-8065"/>
                  <a:pt x="10358264" y="2455"/>
                  <a:pt x="10623124" y="0"/>
                </a:cubicBezTo>
                <a:lnTo>
                  <a:pt x="10623124" y="0"/>
                </a:lnTo>
                <a:cubicBezTo>
                  <a:pt x="10649846" y="166197"/>
                  <a:pt x="10620927" y="355982"/>
                  <a:pt x="10623124" y="635146"/>
                </a:cubicBezTo>
                <a:cubicBezTo>
                  <a:pt x="10625321" y="914310"/>
                  <a:pt x="10622709" y="964317"/>
                  <a:pt x="10623124" y="1251793"/>
                </a:cubicBezTo>
                <a:cubicBezTo>
                  <a:pt x="10623539" y="1539269"/>
                  <a:pt x="10630652" y="1630607"/>
                  <a:pt x="10623124" y="1849941"/>
                </a:cubicBezTo>
                <a:lnTo>
                  <a:pt x="10623124" y="1849941"/>
                </a:lnTo>
                <a:cubicBezTo>
                  <a:pt x="10492906" y="1828873"/>
                  <a:pt x="10329197" y="1844956"/>
                  <a:pt x="10171641" y="1849941"/>
                </a:cubicBezTo>
                <a:cubicBezTo>
                  <a:pt x="10014085" y="1854926"/>
                  <a:pt x="9642561" y="1845317"/>
                  <a:pt x="9295234" y="1849941"/>
                </a:cubicBezTo>
                <a:cubicBezTo>
                  <a:pt x="8947907" y="1854565"/>
                  <a:pt x="8827225" y="1880626"/>
                  <a:pt x="8525057" y="1849941"/>
                </a:cubicBezTo>
                <a:cubicBezTo>
                  <a:pt x="8222889" y="1819256"/>
                  <a:pt x="8011988" y="1854563"/>
                  <a:pt x="7754881" y="1849941"/>
                </a:cubicBezTo>
                <a:cubicBezTo>
                  <a:pt x="7497774" y="1845319"/>
                  <a:pt x="7054549" y="1864474"/>
                  <a:pt x="6878473" y="1849941"/>
                </a:cubicBezTo>
                <a:cubicBezTo>
                  <a:pt x="6702397" y="1835408"/>
                  <a:pt x="6554735" y="1859904"/>
                  <a:pt x="6320759" y="1849941"/>
                </a:cubicBezTo>
                <a:cubicBezTo>
                  <a:pt x="6086783" y="1839978"/>
                  <a:pt x="6003151" y="1833832"/>
                  <a:pt x="5869276" y="1849941"/>
                </a:cubicBezTo>
                <a:cubicBezTo>
                  <a:pt x="5735401" y="1866050"/>
                  <a:pt x="5575485" y="1866413"/>
                  <a:pt x="5417793" y="1849941"/>
                </a:cubicBezTo>
                <a:cubicBezTo>
                  <a:pt x="5260101" y="1833469"/>
                  <a:pt x="4934895" y="1847043"/>
                  <a:pt x="4647617" y="1849941"/>
                </a:cubicBezTo>
                <a:cubicBezTo>
                  <a:pt x="4360339" y="1852839"/>
                  <a:pt x="4110838" y="1842447"/>
                  <a:pt x="3877440" y="1849941"/>
                </a:cubicBezTo>
                <a:cubicBezTo>
                  <a:pt x="3644042" y="1857435"/>
                  <a:pt x="3548299" y="1870814"/>
                  <a:pt x="3319726" y="1849941"/>
                </a:cubicBezTo>
                <a:cubicBezTo>
                  <a:pt x="3091153" y="1829068"/>
                  <a:pt x="2913042" y="1838209"/>
                  <a:pt x="2549550" y="1849941"/>
                </a:cubicBezTo>
                <a:cubicBezTo>
                  <a:pt x="2186058" y="1861673"/>
                  <a:pt x="2367087" y="1849746"/>
                  <a:pt x="2204298" y="1849941"/>
                </a:cubicBezTo>
                <a:cubicBezTo>
                  <a:pt x="2041509" y="1850136"/>
                  <a:pt x="1754707" y="1862384"/>
                  <a:pt x="1434122" y="1849941"/>
                </a:cubicBezTo>
                <a:cubicBezTo>
                  <a:pt x="1113537" y="1837498"/>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FCD9DC">
              <a:alpha val="3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BE20FF1D-A774-8C4E-BF29-DE2C2C6DC32C}"/>
              </a:ext>
            </a:extLst>
          </p:cNvPr>
          <p:cNvSpPr/>
          <p:nvPr/>
        </p:nvSpPr>
        <p:spPr>
          <a:xfrm rot="16200000" flipH="1">
            <a:off x="-140533" y="3037022"/>
            <a:ext cx="1849940" cy="402167"/>
          </a:xfrm>
          <a:prstGeom prst="roundRect">
            <a:avLst>
              <a:gd name="adj" fmla="val 0"/>
            </a:avLst>
          </a:prstGeom>
          <a:solidFill>
            <a:srgbClr val="FDDADC"/>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tx1"/>
                </a:solidFill>
                <a:latin typeface="Verdana" panose="020B0604030504040204" pitchFamily="34" charset="0"/>
                <a:ea typeface="Verdana" panose="020B0604030504040204" pitchFamily="34" charset="0"/>
              </a:rPr>
              <a:t>Det vil vi</a:t>
            </a:r>
          </a:p>
        </p:txBody>
      </p:sp>
      <p:sp>
        <p:nvSpPr>
          <p:cNvPr id="8" name="Rectangle: Rounded Corners 7">
            <a:extLst>
              <a:ext uri="{FF2B5EF4-FFF2-40B4-BE49-F238E27FC236}">
                <a16:creationId xmlns:a16="http://schemas.microsoft.com/office/drawing/2014/main" id="{78209E92-D001-05BE-6E5F-BBF41CAE6041}"/>
              </a:ext>
            </a:extLst>
          </p:cNvPr>
          <p:cNvSpPr/>
          <p:nvPr/>
        </p:nvSpPr>
        <p:spPr>
          <a:xfrm>
            <a:off x="1114142" y="1737360"/>
            <a:ext cx="5123418" cy="396000"/>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13" name="Rectangle: Rounded Corners 12">
            <a:extLst>
              <a:ext uri="{FF2B5EF4-FFF2-40B4-BE49-F238E27FC236}">
                <a16:creationId xmlns:a16="http://schemas.microsoft.com/office/drawing/2014/main" id="{537CEF51-2D7F-D586-17C0-1866703875D5}"/>
              </a:ext>
            </a:extLst>
          </p:cNvPr>
          <p:cNvSpPr/>
          <p:nvPr/>
        </p:nvSpPr>
        <p:spPr>
          <a:xfrm>
            <a:off x="985521" y="4341865"/>
            <a:ext cx="10623126" cy="1849941"/>
          </a:xfrm>
          <a:custGeom>
            <a:avLst/>
            <a:gdLst>
              <a:gd name="connsiteX0" fmla="*/ 0 w 10623126"/>
              <a:gd name="connsiteY0" fmla="*/ 0 h 1849941"/>
              <a:gd name="connsiteX1" fmla="*/ 0 w 10623126"/>
              <a:gd name="connsiteY1" fmla="*/ 0 h 1849941"/>
              <a:gd name="connsiteX2" fmla="*/ 770177 w 10623126"/>
              <a:gd name="connsiteY2" fmla="*/ 0 h 1849941"/>
              <a:gd name="connsiteX3" fmla="*/ 1327891 w 10623126"/>
              <a:gd name="connsiteY3" fmla="*/ 0 h 1849941"/>
              <a:gd name="connsiteX4" fmla="*/ 1991836 w 10623126"/>
              <a:gd name="connsiteY4" fmla="*/ 0 h 1849941"/>
              <a:gd name="connsiteX5" fmla="*/ 2443319 w 10623126"/>
              <a:gd name="connsiteY5" fmla="*/ 0 h 1849941"/>
              <a:gd name="connsiteX6" fmla="*/ 2894802 w 10623126"/>
              <a:gd name="connsiteY6" fmla="*/ 0 h 1849941"/>
              <a:gd name="connsiteX7" fmla="*/ 3240053 w 10623126"/>
              <a:gd name="connsiteY7" fmla="*/ 0 h 1849941"/>
              <a:gd name="connsiteX8" fmla="*/ 4010230 w 10623126"/>
              <a:gd name="connsiteY8" fmla="*/ 0 h 1849941"/>
              <a:gd name="connsiteX9" fmla="*/ 4886638 w 10623126"/>
              <a:gd name="connsiteY9" fmla="*/ 0 h 1849941"/>
              <a:gd name="connsiteX10" fmla="*/ 5231890 w 10623126"/>
              <a:gd name="connsiteY10" fmla="*/ 0 h 1849941"/>
              <a:gd name="connsiteX11" fmla="*/ 5895835 w 10623126"/>
              <a:gd name="connsiteY11" fmla="*/ 0 h 1849941"/>
              <a:gd name="connsiteX12" fmla="*/ 6241087 w 10623126"/>
              <a:gd name="connsiteY12" fmla="*/ 0 h 1849941"/>
              <a:gd name="connsiteX13" fmla="*/ 7011263 w 10623126"/>
              <a:gd name="connsiteY13" fmla="*/ 0 h 1849941"/>
              <a:gd name="connsiteX14" fmla="*/ 7356515 w 10623126"/>
              <a:gd name="connsiteY14" fmla="*/ 0 h 1849941"/>
              <a:gd name="connsiteX15" fmla="*/ 7807998 w 10623126"/>
              <a:gd name="connsiteY15" fmla="*/ 0 h 1849941"/>
              <a:gd name="connsiteX16" fmla="*/ 8578174 w 10623126"/>
              <a:gd name="connsiteY16" fmla="*/ 0 h 1849941"/>
              <a:gd name="connsiteX17" fmla="*/ 8923426 w 10623126"/>
              <a:gd name="connsiteY17" fmla="*/ 0 h 1849941"/>
              <a:gd name="connsiteX18" fmla="*/ 9481140 w 10623126"/>
              <a:gd name="connsiteY18" fmla="*/ 0 h 1849941"/>
              <a:gd name="connsiteX19" fmla="*/ 10038854 w 10623126"/>
              <a:gd name="connsiteY19" fmla="*/ 0 h 1849941"/>
              <a:gd name="connsiteX20" fmla="*/ 10623126 w 10623126"/>
              <a:gd name="connsiteY20" fmla="*/ 0 h 1849941"/>
              <a:gd name="connsiteX21" fmla="*/ 10623126 w 10623126"/>
              <a:gd name="connsiteY21" fmla="*/ 0 h 1849941"/>
              <a:gd name="connsiteX22" fmla="*/ 10623126 w 10623126"/>
              <a:gd name="connsiteY22" fmla="*/ 561149 h 1849941"/>
              <a:gd name="connsiteX23" fmla="*/ 10623126 w 10623126"/>
              <a:gd name="connsiteY23" fmla="*/ 1122298 h 1849941"/>
              <a:gd name="connsiteX24" fmla="*/ 10623126 w 10623126"/>
              <a:gd name="connsiteY24" fmla="*/ 1849941 h 1849941"/>
              <a:gd name="connsiteX25" fmla="*/ 10623126 w 10623126"/>
              <a:gd name="connsiteY25" fmla="*/ 1849941 h 1849941"/>
              <a:gd name="connsiteX26" fmla="*/ 9959181 w 10623126"/>
              <a:gd name="connsiteY26" fmla="*/ 1849941 h 1849941"/>
              <a:gd name="connsiteX27" fmla="*/ 9189004 w 10623126"/>
              <a:gd name="connsiteY27" fmla="*/ 1849941 h 1849941"/>
              <a:gd name="connsiteX28" fmla="*/ 8312596 w 10623126"/>
              <a:gd name="connsiteY28" fmla="*/ 1849941 h 1849941"/>
              <a:gd name="connsiteX29" fmla="*/ 7436188 w 10623126"/>
              <a:gd name="connsiteY29" fmla="*/ 1849941 h 1849941"/>
              <a:gd name="connsiteX30" fmla="*/ 6666012 w 10623126"/>
              <a:gd name="connsiteY30" fmla="*/ 1849941 h 1849941"/>
              <a:gd name="connsiteX31" fmla="*/ 5789604 w 10623126"/>
              <a:gd name="connsiteY31" fmla="*/ 1849941 h 1849941"/>
              <a:gd name="connsiteX32" fmla="*/ 5444352 w 10623126"/>
              <a:gd name="connsiteY32" fmla="*/ 1849941 h 1849941"/>
              <a:gd name="connsiteX33" fmla="*/ 4780407 w 10623126"/>
              <a:gd name="connsiteY33" fmla="*/ 1849941 h 1849941"/>
              <a:gd name="connsiteX34" fmla="*/ 4435155 w 10623126"/>
              <a:gd name="connsiteY34" fmla="*/ 1849941 h 1849941"/>
              <a:gd name="connsiteX35" fmla="*/ 3877441 w 10623126"/>
              <a:gd name="connsiteY35" fmla="*/ 1849941 h 1849941"/>
              <a:gd name="connsiteX36" fmla="*/ 3532189 w 10623126"/>
              <a:gd name="connsiteY36" fmla="*/ 1849941 h 1849941"/>
              <a:gd name="connsiteX37" fmla="*/ 2762013 w 10623126"/>
              <a:gd name="connsiteY37" fmla="*/ 1849941 h 1849941"/>
              <a:gd name="connsiteX38" fmla="*/ 2416761 w 10623126"/>
              <a:gd name="connsiteY38" fmla="*/ 1849941 h 1849941"/>
              <a:gd name="connsiteX39" fmla="*/ 2071510 w 10623126"/>
              <a:gd name="connsiteY39" fmla="*/ 1849941 h 1849941"/>
              <a:gd name="connsiteX40" fmla="*/ 1407564 w 10623126"/>
              <a:gd name="connsiteY40" fmla="*/ 1849941 h 1849941"/>
              <a:gd name="connsiteX41" fmla="*/ 1062313 w 10623126"/>
              <a:gd name="connsiteY41" fmla="*/ 1849941 h 1849941"/>
              <a:gd name="connsiteX42" fmla="*/ 0 w 10623126"/>
              <a:gd name="connsiteY42" fmla="*/ 1849941 h 1849941"/>
              <a:gd name="connsiteX43" fmla="*/ 0 w 10623126"/>
              <a:gd name="connsiteY43" fmla="*/ 1849941 h 1849941"/>
              <a:gd name="connsiteX44" fmla="*/ 0 w 10623126"/>
              <a:gd name="connsiteY44" fmla="*/ 1288792 h 1849941"/>
              <a:gd name="connsiteX45" fmla="*/ 0 w 10623126"/>
              <a:gd name="connsiteY45" fmla="*/ 727643 h 1849941"/>
              <a:gd name="connsiteX46" fmla="*/ 0 w 10623126"/>
              <a:gd name="connsiteY46" fmla="*/ 0 h 184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623126" h="1849941" fill="none" extrusionOk="0">
                <a:moveTo>
                  <a:pt x="0" y="0"/>
                </a:moveTo>
                <a:lnTo>
                  <a:pt x="0" y="0"/>
                </a:lnTo>
                <a:cubicBezTo>
                  <a:pt x="177302" y="-14941"/>
                  <a:pt x="561055" y="6843"/>
                  <a:pt x="770177" y="0"/>
                </a:cubicBezTo>
                <a:cubicBezTo>
                  <a:pt x="979299" y="-6843"/>
                  <a:pt x="1172850" y="5082"/>
                  <a:pt x="1327891" y="0"/>
                </a:cubicBezTo>
                <a:cubicBezTo>
                  <a:pt x="1482932" y="-5082"/>
                  <a:pt x="1711165" y="-13672"/>
                  <a:pt x="1991836" y="0"/>
                </a:cubicBezTo>
                <a:cubicBezTo>
                  <a:pt x="2272507" y="13672"/>
                  <a:pt x="2254889" y="-18881"/>
                  <a:pt x="2443319" y="0"/>
                </a:cubicBezTo>
                <a:cubicBezTo>
                  <a:pt x="2631749" y="18881"/>
                  <a:pt x="2740076" y="7132"/>
                  <a:pt x="2894802" y="0"/>
                </a:cubicBezTo>
                <a:cubicBezTo>
                  <a:pt x="3049528" y="-7132"/>
                  <a:pt x="3170438" y="9875"/>
                  <a:pt x="3240053" y="0"/>
                </a:cubicBezTo>
                <a:cubicBezTo>
                  <a:pt x="3309668" y="-9875"/>
                  <a:pt x="3649232" y="-13082"/>
                  <a:pt x="4010230" y="0"/>
                </a:cubicBezTo>
                <a:cubicBezTo>
                  <a:pt x="4371228" y="13082"/>
                  <a:pt x="4531511" y="-26184"/>
                  <a:pt x="4886638" y="0"/>
                </a:cubicBezTo>
                <a:cubicBezTo>
                  <a:pt x="5241765" y="26184"/>
                  <a:pt x="5089165" y="4804"/>
                  <a:pt x="5231890" y="0"/>
                </a:cubicBezTo>
                <a:cubicBezTo>
                  <a:pt x="5374615" y="-4804"/>
                  <a:pt x="5691845" y="-32510"/>
                  <a:pt x="5895835" y="0"/>
                </a:cubicBezTo>
                <a:cubicBezTo>
                  <a:pt x="6099825" y="32510"/>
                  <a:pt x="6158760" y="-13962"/>
                  <a:pt x="6241087" y="0"/>
                </a:cubicBezTo>
                <a:cubicBezTo>
                  <a:pt x="6323414" y="13962"/>
                  <a:pt x="6665505" y="8824"/>
                  <a:pt x="7011263" y="0"/>
                </a:cubicBezTo>
                <a:cubicBezTo>
                  <a:pt x="7357021" y="-8824"/>
                  <a:pt x="7279031" y="11693"/>
                  <a:pt x="7356515" y="0"/>
                </a:cubicBezTo>
                <a:cubicBezTo>
                  <a:pt x="7433999" y="-11693"/>
                  <a:pt x="7584138" y="18179"/>
                  <a:pt x="7807998" y="0"/>
                </a:cubicBezTo>
                <a:cubicBezTo>
                  <a:pt x="8031858" y="-18179"/>
                  <a:pt x="8305509" y="-17509"/>
                  <a:pt x="8578174" y="0"/>
                </a:cubicBezTo>
                <a:cubicBezTo>
                  <a:pt x="8850839" y="17509"/>
                  <a:pt x="8793035" y="-15802"/>
                  <a:pt x="8923426" y="0"/>
                </a:cubicBezTo>
                <a:cubicBezTo>
                  <a:pt x="9053817" y="15802"/>
                  <a:pt x="9342388" y="1773"/>
                  <a:pt x="9481140" y="0"/>
                </a:cubicBezTo>
                <a:cubicBezTo>
                  <a:pt x="9619892" y="-1773"/>
                  <a:pt x="9762350" y="19550"/>
                  <a:pt x="10038854" y="0"/>
                </a:cubicBezTo>
                <a:cubicBezTo>
                  <a:pt x="10315358" y="-19550"/>
                  <a:pt x="10413381" y="22843"/>
                  <a:pt x="10623126" y="0"/>
                </a:cubicBezTo>
                <a:lnTo>
                  <a:pt x="10623126" y="0"/>
                </a:lnTo>
                <a:cubicBezTo>
                  <a:pt x="10604704" y="228184"/>
                  <a:pt x="10645665" y="353222"/>
                  <a:pt x="10623126" y="561149"/>
                </a:cubicBezTo>
                <a:cubicBezTo>
                  <a:pt x="10600587" y="769076"/>
                  <a:pt x="10643396" y="923488"/>
                  <a:pt x="10623126" y="1122298"/>
                </a:cubicBezTo>
                <a:cubicBezTo>
                  <a:pt x="10602856" y="1321108"/>
                  <a:pt x="10606322" y="1588223"/>
                  <a:pt x="10623126" y="1849941"/>
                </a:cubicBezTo>
                <a:lnTo>
                  <a:pt x="10623126" y="1849941"/>
                </a:lnTo>
                <a:cubicBezTo>
                  <a:pt x="10308413" y="1853597"/>
                  <a:pt x="10102223" y="1859973"/>
                  <a:pt x="9959181" y="1849941"/>
                </a:cubicBezTo>
                <a:cubicBezTo>
                  <a:pt x="9816139" y="1839909"/>
                  <a:pt x="9461847" y="1885266"/>
                  <a:pt x="9189004" y="1849941"/>
                </a:cubicBezTo>
                <a:cubicBezTo>
                  <a:pt x="8916161" y="1814616"/>
                  <a:pt x="8707678" y="1830660"/>
                  <a:pt x="8312596" y="1849941"/>
                </a:cubicBezTo>
                <a:cubicBezTo>
                  <a:pt x="7917514" y="1869222"/>
                  <a:pt x="7727486" y="1835478"/>
                  <a:pt x="7436188" y="1849941"/>
                </a:cubicBezTo>
                <a:cubicBezTo>
                  <a:pt x="7144890" y="1864404"/>
                  <a:pt x="6930211" y="1851715"/>
                  <a:pt x="6666012" y="1849941"/>
                </a:cubicBezTo>
                <a:cubicBezTo>
                  <a:pt x="6401813" y="1848167"/>
                  <a:pt x="6048985" y="1857147"/>
                  <a:pt x="5789604" y="1849941"/>
                </a:cubicBezTo>
                <a:cubicBezTo>
                  <a:pt x="5530223" y="1842735"/>
                  <a:pt x="5576858" y="1841566"/>
                  <a:pt x="5444352" y="1849941"/>
                </a:cubicBezTo>
                <a:cubicBezTo>
                  <a:pt x="5311846" y="1858316"/>
                  <a:pt x="5026904" y="1881159"/>
                  <a:pt x="4780407" y="1849941"/>
                </a:cubicBezTo>
                <a:cubicBezTo>
                  <a:pt x="4533910" y="1818723"/>
                  <a:pt x="4515712" y="1835244"/>
                  <a:pt x="4435155" y="1849941"/>
                </a:cubicBezTo>
                <a:cubicBezTo>
                  <a:pt x="4354598" y="1864638"/>
                  <a:pt x="4006696" y="1849683"/>
                  <a:pt x="3877441" y="1849941"/>
                </a:cubicBezTo>
                <a:cubicBezTo>
                  <a:pt x="3748186" y="1850199"/>
                  <a:pt x="3610715" y="1864332"/>
                  <a:pt x="3532189" y="1849941"/>
                </a:cubicBezTo>
                <a:cubicBezTo>
                  <a:pt x="3453663" y="1835550"/>
                  <a:pt x="2929183" y="1865573"/>
                  <a:pt x="2762013" y="1849941"/>
                </a:cubicBezTo>
                <a:cubicBezTo>
                  <a:pt x="2594843" y="1834309"/>
                  <a:pt x="2556388" y="1865620"/>
                  <a:pt x="2416761" y="1849941"/>
                </a:cubicBezTo>
                <a:cubicBezTo>
                  <a:pt x="2277134" y="1834262"/>
                  <a:pt x="2234563" y="1855687"/>
                  <a:pt x="2071510" y="1849941"/>
                </a:cubicBezTo>
                <a:cubicBezTo>
                  <a:pt x="1908457" y="1844195"/>
                  <a:pt x="1637841" y="1837819"/>
                  <a:pt x="1407564" y="1849941"/>
                </a:cubicBezTo>
                <a:cubicBezTo>
                  <a:pt x="1177287" y="1862063"/>
                  <a:pt x="1197106" y="1865729"/>
                  <a:pt x="1062313" y="1849941"/>
                </a:cubicBezTo>
                <a:cubicBezTo>
                  <a:pt x="927520" y="1834153"/>
                  <a:pt x="416685" y="1806880"/>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6" h="1849941" stroke="0" extrusionOk="0">
                <a:moveTo>
                  <a:pt x="0" y="0"/>
                </a:moveTo>
                <a:lnTo>
                  <a:pt x="0" y="0"/>
                </a:lnTo>
                <a:cubicBezTo>
                  <a:pt x="350945" y="1124"/>
                  <a:pt x="592400" y="786"/>
                  <a:pt x="770177" y="0"/>
                </a:cubicBezTo>
                <a:cubicBezTo>
                  <a:pt x="947954" y="-786"/>
                  <a:pt x="961195" y="9684"/>
                  <a:pt x="1115428" y="0"/>
                </a:cubicBezTo>
                <a:cubicBezTo>
                  <a:pt x="1269661" y="-9684"/>
                  <a:pt x="1422520" y="5265"/>
                  <a:pt x="1673142" y="0"/>
                </a:cubicBezTo>
                <a:cubicBezTo>
                  <a:pt x="1923764" y="-5265"/>
                  <a:pt x="1972363" y="3662"/>
                  <a:pt x="2124625" y="0"/>
                </a:cubicBezTo>
                <a:cubicBezTo>
                  <a:pt x="2276887" y="-3662"/>
                  <a:pt x="2310221" y="-3050"/>
                  <a:pt x="2469877" y="0"/>
                </a:cubicBezTo>
                <a:cubicBezTo>
                  <a:pt x="2629533" y="3050"/>
                  <a:pt x="2737561" y="4189"/>
                  <a:pt x="2921360" y="0"/>
                </a:cubicBezTo>
                <a:cubicBezTo>
                  <a:pt x="3105159" y="-4189"/>
                  <a:pt x="3234744" y="22542"/>
                  <a:pt x="3372843" y="0"/>
                </a:cubicBezTo>
                <a:cubicBezTo>
                  <a:pt x="3510942" y="-22542"/>
                  <a:pt x="3738840" y="-21056"/>
                  <a:pt x="3930557" y="0"/>
                </a:cubicBezTo>
                <a:cubicBezTo>
                  <a:pt x="4122274" y="21056"/>
                  <a:pt x="4342747" y="-19994"/>
                  <a:pt x="4700733" y="0"/>
                </a:cubicBezTo>
                <a:cubicBezTo>
                  <a:pt x="5058719" y="19994"/>
                  <a:pt x="5091660" y="14119"/>
                  <a:pt x="5258447" y="0"/>
                </a:cubicBezTo>
                <a:cubicBezTo>
                  <a:pt x="5425234" y="-14119"/>
                  <a:pt x="5836540" y="-18180"/>
                  <a:pt x="6134855" y="0"/>
                </a:cubicBezTo>
                <a:cubicBezTo>
                  <a:pt x="6433170" y="18180"/>
                  <a:pt x="6335730" y="-13066"/>
                  <a:pt x="6480107" y="0"/>
                </a:cubicBezTo>
                <a:cubicBezTo>
                  <a:pt x="6624484" y="13066"/>
                  <a:pt x="6911050" y="-21879"/>
                  <a:pt x="7250283" y="0"/>
                </a:cubicBezTo>
                <a:cubicBezTo>
                  <a:pt x="7589516" y="21879"/>
                  <a:pt x="7500711" y="-7088"/>
                  <a:pt x="7701766" y="0"/>
                </a:cubicBezTo>
                <a:cubicBezTo>
                  <a:pt x="7902821" y="7088"/>
                  <a:pt x="8245432" y="9730"/>
                  <a:pt x="8471943" y="0"/>
                </a:cubicBezTo>
                <a:cubicBezTo>
                  <a:pt x="8698454" y="-9730"/>
                  <a:pt x="8769885" y="4371"/>
                  <a:pt x="8923426" y="0"/>
                </a:cubicBezTo>
                <a:cubicBezTo>
                  <a:pt x="9076967" y="-4371"/>
                  <a:pt x="9160088" y="8065"/>
                  <a:pt x="9374909" y="0"/>
                </a:cubicBezTo>
                <a:cubicBezTo>
                  <a:pt x="9589730" y="-8065"/>
                  <a:pt x="10358266" y="2455"/>
                  <a:pt x="10623126" y="0"/>
                </a:cubicBezTo>
                <a:lnTo>
                  <a:pt x="10623126" y="0"/>
                </a:lnTo>
                <a:cubicBezTo>
                  <a:pt x="10649848" y="166197"/>
                  <a:pt x="10620929" y="355982"/>
                  <a:pt x="10623126" y="635146"/>
                </a:cubicBezTo>
                <a:cubicBezTo>
                  <a:pt x="10625323" y="914310"/>
                  <a:pt x="10622711" y="964317"/>
                  <a:pt x="10623126" y="1251793"/>
                </a:cubicBezTo>
                <a:cubicBezTo>
                  <a:pt x="10623541" y="1539269"/>
                  <a:pt x="10630654" y="1630607"/>
                  <a:pt x="10623126" y="1849941"/>
                </a:cubicBezTo>
                <a:lnTo>
                  <a:pt x="10623126" y="1849941"/>
                </a:lnTo>
                <a:cubicBezTo>
                  <a:pt x="10492908" y="1828873"/>
                  <a:pt x="10329199" y="1844956"/>
                  <a:pt x="10171643" y="1849941"/>
                </a:cubicBezTo>
                <a:cubicBezTo>
                  <a:pt x="10014087" y="1854926"/>
                  <a:pt x="9646312" y="1846595"/>
                  <a:pt x="9295235" y="1849941"/>
                </a:cubicBezTo>
                <a:cubicBezTo>
                  <a:pt x="8944158" y="1853287"/>
                  <a:pt x="8821789" y="1879813"/>
                  <a:pt x="8525059" y="1849941"/>
                </a:cubicBezTo>
                <a:cubicBezTo>
                  <a:pt x="8228329" y="1820069"/>
                  <a:pt x="8013879" y="1857528"/>
                  <a:pt x="7754882" y="1849941"/>
                </a:cubicBezTo>
                <a:cubicBezTo>
                  <a:pt x="7495885" y="1842354"/>
                  <a:pt x="7054550" y="1864474"/>
                  <a:pt x="6878474" y="1849941"/>
                </a:cubicBezTo>
                <a:cubicBezTo>
                  <a:pt x="6702398" y="1835408"/>
                  <a:pt x="6554736" y="1859904"/>
                  <a:pt x="6320760" y="1849941"/>
                </a:cubicBezTo>
                <a:cubicBezTo>
                  <a:pt x="6086784" y="1839978"/>
                  <a:pt x="6003152" y="1833832"/>
                  <a:pt x="5869277" y="1849941"/>
                </a:cubicBezTo>
                <a:cubicBezTo>
                  <a:pt x="5735402" y="1866050"/>
                  <a:pt x="5575486" y="1866413"/>
                  <a:pt x="5417794" y="1849941"/>
                </a:cubicBezTo>
                <a:cubicBezTo>
                  <a:pt x="5260102" y="1833469"/>
                  <a:pt x="4934896" y="1847043"/>
                  <a:pt x="4647618" y="1849941"/>
                </a:cubicBezTo>
                <a:cubicBezTo>
                  <a:pt x="4360340" y="1852839"/>
                  <a:pt x="4110839" y="1842447"/>
                  <a:pt x="3877441" y="1849941"/>
                </a:cubicBezTo>
                <a:cubicBezTo>
                  <a:pt x="3644043" y="1857435"/>
                  <a:pt x="3548300" y="1870814"/>
                  <a:pt x="3319727" y="1849941"/>
                </a:cubicBezTo>
                <a:cubicBezTo>
                  <a:pt x="3091154" y="1829068"/>
                  <a:pt x="2918003" y="1842026"/>
                  <a:pt x="2549550" y="1849941"/>
                </a:cubicBezTo>
                <a:cubicBezTo>
                  <a:pt x="2181097" y="1857856"/>
                  <a:pt x="2365999" y="1845242"/>
                  <a:pt x="2204299" y="1849941"/>
                </a:cubicBezTo>
                <a:cubicBezTo>
                  <a:pt x="2042599" y="1854640"/>
                  <a:pt x="1756688" y="1863018"/>
                  <a:pt x="1434122" y="1849941"/>
                </a:cubicBezTo>
                <a:cubicBezTo>
                  <a:pt x="1111556" y="1836864"/>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FCD9DC">
              <a:alpha val="3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47CC15C4-CE7E-8395-33B8-5E3798239538}"/>
              </a:ext>
            </a:extLst>
          </p:cNvPr>
          <p:cNvSpPr/>
          <p:nvPr/>
        </p:nvSpPr>
        <p:spPr>
          <a:xfrm rot="16200000" flipH="1">
            <a:off x="-140534" y="5065752"/>
            <a:ext cx="1849941" cy="402167"/>
          </a:xfrm>
          <a:prstGeom prst="roundRect">
            <a:avLst>
              <a:gd name="adj" fmla="val 0"/>
            </a:avLst>
          </a:prstGeom>
          <a:solidFill>
            <a:srgbClr val="FDDADC"/>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tx1"/>
                </a:solidFill>
                <a:latin typeface="Verdana" panose="020B0604030504040204" pitchFamily="34" charset="0"/>
                <a:ea typeface="Verdana" panose="020B0604030504040204" pitchFamily="34" charset="0"/>
              </a:rPr>
              <a:t>Det gør vi</a:t>
            </a:r>
          </a:p>
        </p:txBody>
      </p:sp>
      <p:sp>
        <p:nvSpPr>
          <p:cNvPr id="4" name="Rectangle 3">
            <a:extLst>
              <a:ext uri="{FF2B5EF4-FFF2-40B4-BE49-F238E27FC236}">
                <a16:creationId xmlns:a16="http://schemas.microsoft.com/office/drawing/2014/main" id="{F3F9C9E6-BB99-7B74-5179-1ACDB7488275}"/>
              </a:ext>
            </a:extLst>
          </p:cNvPr>
          <p:cNvSpPr/>
          <p:nvPr/>
        </p:nvSpPr>
        <p:spPr>
          <a:xfrm>
            <a:off x="6397178" y="1988099"/>
            <a:ext cx="5115998" cy="4369839"/>
          </a:xfrm>
          <a:prstGeom prst="rect">
            <a:avLst/>
          </a:prstGeom>
          <a:solidFill>
            <a:srgbClr val="FCD9DC">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34CDDCB6-E09C-1357-8ED4-A695ABBC43E1}"/>
              </a:ext>
            </a:extLst>
          </p:cNvPr>
          <p:cNvSpPr/>
          <p:nvPr/>
        </p:nvSpPr>
        <p:spPr>
          <a:xfrm>
            <a:off x="6395310" y="1737360"/>
            <a:ext cx="5123418" cy="396000"/>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6" name="TextBox 43">
            <a:extLst>
              <a:ext uri="{FF2B5EF4-FFF2-40B4-BE49-F238E27FC236}">
                <a16:creationId xmlns:a16="http://schemas.microsoft.com/office/drawing/2014/main" id="{53F3676F-7E8A-62C9-0F5E-FBC58B9A52B8}"/>
              </a:ext>
            </a:extLst>
          </p:cNvPr>
          <p:cNvSpPr txBox="1"/>
          <p:nvPr/>
        </p:nvSpPr>
        <p:spPr>
          <a:xfrm>
            <a:off x="1202865" y="2330482"/>
            <a:ext cx="4888006" cy="1446550"/>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dirty="0">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Ambition &amp; målsætning: </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Baseline:</a:t>
            </a:r>
            <a:endParaRPr lang="da-DK" sz="1100" dirty="0">
              <a:solidFill>
                <a:srgbClr val="000000"/>
              </a:solidFill>
              <a:latin typeface="Verdana" panose="020B0604030504040204" pitchFamily="34" charset="0"/>
              <a:ea typeface="Verdana" panose="020B0604030504040204" pitchFamily="34" charset="0"/>
            </a:endParaRPr>
          </a:p>
        </p:txBody>
      </p:sp>
      <p:sp>
        <p:nvSpPr>
          <p:cNvPr id="7" name="TextBox 43">
            <a:extLst>
              <a:ext uri="{FF2B5EF4-FFF2-40B4-BE49-F238E27FC236}">
                <a16:creationId xmlns:a16="http://schemas.microsoft.com/office/drawing/2014/main" id="{CED770BB-6E79-F5B0-4357-E9C96F857708}"/>
              </a:ext>
            </a:extLst>
          </p:cNvPr>
          <p:cNvSpPr txBox="1"/>
          <p:nvPr/>
        </p:nvSpPr>
        <p:spPr>
          <a:xfrm>
            <a:off x="6444529" y="2330481"/>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dirty="0">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lvl="0">
              <a:defRPr/>
            </a:pPr>
            <a:r>
              <a:rPr lang="da-DK" sz="1100" b="1" dirty="0">
                <a:solidFill>
                  <a:srgbClr val="000000"/>
                </a:solidFill>
                <a:latin typeface="Verdana" panose="020B0604030504040204" pitchFamily="34" charset="0"/>
                <a:ea typeface="Verdana" panose="020B0604030504040204" pitchFamily="34" charset="0"/>
              </a:rPr>
              <a:t>Ambition &amp; målsætning: </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Baseline:</a:t>
            </a: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p:txBody>
      </p:sp>
      <p:sp>
        <p:nvSpPr>
          <p:cNvPr id="19" name="TextBox 43">
            <a:extLst>
              <a:ext uri="{FF2B5EF4-FFF2-40B4-BE49-F238E27FC236}">
                <a16:creationId xmlns:a16="http://schemas.microsoft.com/office/drawing/2014/main" id="{6E6298FD-6003-78D9-A662-A98A146649D1}"/>
              </a:ext>
            </a:extLst>
          </p:cNvPr>
          <p:cNvSpPr txBox="1"/>
          <p:nvPr/>
        </p:nvSpPr>
        <p:spPr>
          <a:xfrm>
            <a:off x="1202865" y="4355404"/>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dirty="0">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a:defRPr/>
            </a:pPr>
            <a:r>
              <a:rPr lang="da-DK" sz="1100" b="1" dirty="0">
                <a:solidFill>
                  <a:srgbClr val="000000"/>
                </a:solidFill>
                <a:latin typeface="Verdana" panose="020B0604030504040204" pitchFamily="34" charset="0"/>
                <a:ea typeface="Verdana" panose="020B0604030504040204" pitchFamily="34" charset="0"/>
              </a:rPr>
              <a:t>Resultater: </a:t>
            </a:r>
            <a:r>
              <a:rPr lang="da-DK" sz="1100" i="1" dirty="0">
                <a:solidFill>
                  <a:schemeClr val="bg1">
                    <a:lumMod val="50000"/>
                  </a:schemeClr>
                </a:solidFill>
                <a:latin typeface="Verdana" panose="020B0604030504040204" pitchFamily="34" charset="0"/>
                <a:ea typeface="Verdana" panose="020B0604030504040204" pitchFamily="34" charset="0"/>
              </a:rPr>
              <a:t>Hvilke resultater har I opnået</a:t>
            </a:r>
          </a:p>
          <a:p>
            <a:pPr marR="0" lvl="0" algn="l" defTabSz="914400" eaLnBrk="1" fontAlgn="auto" latinLnBrk="0" hangingPunct="1">
              <a:lnSpc>
                <a:spcPct val="100000"/>
              </a:lnSpc>
              <a:spcBef>
                <a:spcPts val="0"/>
              </a:spcBef>
              <a:spcAft>
                <a:spcPts val="0"/>
              </a:spcAft>
              <a:buClrTx/>
              <a:buSzTx/>
              <a:tabLst/>
              <a:defRPr/>
            </a:pPr>
            <a:endParaRPr lang="da-DK" sz="1100" i="1" dirty="0">
              <a:solidFill>
                <a:schemeClr val="bg1">
                  <a:lumMod val="50000"/>
                </a:schemeClr>
              </a:solidFill>
              <a:latin typeface="Verdana" panose="020B0604030504040204" pitchFamily="34" charset="0"/>
              <a:ea typeface="Verdana" panose="020B0604030504040204" pitchFamily="34" charset="0"/>
            </a:endParaRPr>
          </a:p>
        </p:txBody>
      </p:sp>
      <p:sp>
        <p:nvSpPr>
          <p:cNvPr id="20" name="TextBox 43">
            <a:extLst>
              <a:ext uri="{FF2B5EF4-FFF2-40B4-BE49-F238E27FC236}">
                <a16:creationId xmlns:a16="http://schemas.microsoft.com/office/drawing/2014/main" id="{0E0A5212-510F-A8E3-5941-322C858C22AE}"/>
              </a:ext>
            </a:extLst>
          </p:cNvPr>
          <p:cNvSpPr txBox="1"/>
          <p:nvPr/>
        </p:nvSpPr>
        <p:spPr>
          <a:xfrm>
            <a:off x="6444529" y="4355403"/>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a-DK" sz="1100" i="1" dirty="0">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a:defRPr/>
            </a:pPr>
            <a:r>
              <a:rPr lang="da-DK" sz="1100" b="1" dirty="0">
                <a:solidFill>
                  <a:srgbClr val="000000"/>
                </a:solidFill>
                <a:latin typeface="Verdana" panose="020B0604030504040204" pitchFamily="34" charset="0"/>
                <a:ea typeface="Verdana" panose="020B0604030504040204" pitchFamily="34" charset="0"/>
              </a:rPr>
              <a:t>Resultater: </a:t>
            </a:r>
            <a:r>
              <a:rPr lang="da-DK" sz="1100" i="1" dirty="0">
                <a:solidFill>
                  <a:schemeClr val="bg1">
                    <a:lumMod val="50000"/>
                  </a:schemeClr>
                </a:solidFill>
                <a:latin typeface="Verdana" panose="020B0604030504040204" pitchFamily="34" charset="0"/>
                <a:ea typeface="Verdana" panose="020B0604030504040204" pitchFamily="34" charset="0"/>
              </a:rPr>
              <a:t>Hvilke resultater har I opnået</a:t>
            </a: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p:txBody>
      </p:sp>
      <p:pic>
        <p:nvPicPr>
          <p:cNvPr id="9" name="Picture 8" descr="A pink circle with a white letter&#10;&#10;AI-generated content may be incorrect.">
            <a:extLst>
              <a:ext uri="{FF2B5EF4-FFF2-40B4-BE49-F238E27FC236}">
                <a16:creationId xmlns:a16="http://schemas.microsoft.com/office/drawing/2014/main" id="{2C57A823-6F2F-93CF-57CF-E3E4DA17270F}"/>
              </a:ext>
            </a:extLst>
          </p:cNvPr>
          <p:cNvPicPr>
            <a:picLocks noChangeAspect="1"/>
          </p:cNvPicPr>
          <p:nvPr/>
        </p:nvPicPr>
        <p:blipFill>
          <a:blip r:embed="rId3">
            <a:alphaModFix/>
          </a:blip>
          <a:stretch>
            <a:fillRect/>
          </a:stretch>
        </p:blipFill>
        <p:spPr>
          <a:xfrm>
            <a:off x="11094393" y="89320"/>
            <a:ext cx="600421" cy="661481"/>
          </a:xfrm>
          <a:prstGeom prst="rect">
            <a:avLst/>
          </a:prstGeom>
        </p:spPr>
      </p:pic>
    </p:spTree>
    <p:extLst>
      <p:ext uri="{BB962C8B-B14F-4D97-AF65-F5344CB8AC3E}">
        <p14:creationId xmlns:p14="http://schemas.microsoft.com/office/powerpoint/2010/main" val="14427543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a:extLst>
            <a:ext uri="{FF2B5EF4-FFF2-40B4-BE49-F238E27FC236}">
              <a16:creationId xmlns:a16="http://schemas.microsoft.com/office/drawing/2014/main" id="{54B3E9C9-0B3A-EE13-ECE8-6BB894AC769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B59D0E-34B9-0DAE-7052-671D6F18480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92B59D0E-34B9-0DAE-7052-671D6F18480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kstfelt 5">
            <a:extLst>
              <a:ext uri="{FF2B5EF4-FFF2-40B4-BE49-F238E27FC236}">
                <a16:creationId xmlns:a16="http://schemas.microsoft.com/office/drawing/2014/main" id="{B475C5CE-F401-A003-CBC9-71C3083D51EF}"/>
              </a:ext>
            </a:extLst>
          </p:cNvPr>
          <p:cNvSpPr txBox="1"/>
          <p:nvPr/>
        </p:nvSpPr>
        <p:spPr>
          <a:xfrm>
            <a:off x="1074210" y="1468884"/>
            <a:ext cx="4575953" cy="224911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buNone/>
            </a:pPr>
            <a:r>
              <a:rPr lang="da-DK" sz="4800" b="1" kern="100" dirty="0">
                <a:solidFill>
                  <a:srgbClr val="005850"/>
                </a:solidFill>
                <a:effectLst/>
                <a:latin typeface="Verdana" panose="020B0604030504040204" pitchFamily="34" charset="0"/>
                <a:ea typeface="Verdana" panose="020B0604030504040204" pitchFamily="34" charset="0"/>
                <a:cs typeface="Arial" panose="020B0604020202020204" pitchFamily="34" charset="0"/>
              </a:rPr>
              <a:t>ESG-rapport</a:t>
            </a:r>
            <a:br>
              <a:rPr lang="da-DK" sz="4800" b="1" kern="100" dirty="0">
                <a:solidFill>
                  <a:srgbClr val="005850"/>
                </a:solidFill>
                <a:effectLst/>
                <a:latin typeface="Verdana" panose="020B0604030504040204" pitchFamily="34" charset="0"/>
                <a:ea typeface="Verdana" panose="020B0604030504040204" pitchFamily="34" charset="0"/>
                <a:cs typeface="Arial" panose="020B0604020202020204" pitchFamily="34" charset="0"/>
              </a:rPr>
            </a:br>
            <a:r>
              <a:rPr lang="da-DK" sz="4800" b="1" kern="100" dirty="0">
                <a:solidFill>
                  <a:srgbClr val="005850"/>
                </a:solidFill>
                <a:effectLst/>
                <a:latin typeface="Verdana" panose="020B0604030504040204" pitchFamily="34" charset="0"/>
                <a:ea typeface="Verdana" panose="020B0604030504040204" pitchFamily="34" charset="0"/>
                <a:cs typeface="Arial" panose="020B0604020202020204" pitchFamily="34" charset="0"/>
              </a:rPr>
              <a:t>[Årstal]</a:t>
            </a:r>
            <a:endParaRPr lang="da-DK" sz="1050" b="1" kern="100" dirty="0">
              <a:solidFill>
                <a:srgbClr val="005850"/>
              </a:solidFill>
              <a:effectLst/>
              <a:latin typeface="Verdana" panose="020B0604030504040204" pitchFamily="34" charset="0"/>
              <a:ea typeface="Verdana" panose="020B0604030504040204" pitchFamily="34" charset="0"/>
              <a:cs typeface="Arial" panose="020B0604020202020204" pitchFamily="34" charset="0"/>
            </a:endParaRPr>
          </a:p>
          <a:p>
            <a:pPr>
              <a:lnSpc>
                <a:spcPct val="107000"/>
              </a:lnSpc>
              <a:spcAft>
                <a:spcPts val="800"/>
              </a:spcAft>
            </a:pPr>
            <a:r>
              <a:rPr lang="da-DK" sz="2800" i="1" kern="100" dirty="0">
                <a:solidFill>
                  <a:schemeClr val="bg1">
                    <a:lumMod val="65000"/>
                  </a:schemeClr>
                </a:solidFill>
                <a:effectLst/>
                <a:latin typeface="Verdana" panose="020B0604030504040204" pitchFamily="34" charset="0"/>
                <a:ea typeface="Verdana" panose="020B0604030504040204" pitchFamily="34" charset="0"/>
                <a:cs typeface="Arial" panose="020B0604020202020204" pitchFamily="34" charset="0"/>
              </a:rPr>
              <a:t>[Navn på boligorganisation]</a:t>
            </a:r>
            <a:br>
              <a:rPr lang="da-DK" i="1" kern="100" dirty="0">
                <a:solidFill>
                  <a:schemeClr val="bg1">
                    <a:lumMod val="65000"/>
                  </a:schemeClr>
                </a:solidFill>
                <a:effectLst/>
                <a:latin typeface="Verdana" panose="020B0604030504040204" pitchFamily="34" charset="0"/>
                <a:ea typeface="Verdana" panose="020B0604030504040204" pitchFamily="34" charset="0"/>
                <a:cs typeface="Arial" panose="020B0604020202020204" pitchFamily="34" charset="0"/>
              </a:rPr>
            </a:br>
            <a:endParaRPr lang="da-DK" sz="1050" kern="100" dirty="0">
              <a:solidFill>
                <a:schemeClr val="bg1">
                  <a:lumMod val="65000"/>
                </a:schemeClr>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24" name="Pladsholder til slidenummer 23">
            <a:extLst>
              <a:ext uri="{FF2B5EF4-FFF2-40B4-BE49-F238E27FC236}">
                <a16:creationId xmlns:a16="http://schemas.microsoft.com/office/drawing/2014/main" id="{2E7297D9-F4E7-D446-6587-F27DA71AA8DE}"/>
              </a:ext>
            </a:extLst>
          </p:cNvPr>
          <p:cNvSpPr>
            <a:spLocks noGrp="1"/>
          </p:cNvSpPr>
          <p:nvPr>
            <p:ph type="sldNum" sz="quarter" idx="12"/>
          </p:nvPr>
        </p:nvSpPr>
        <p:spPr/>
        <p:txBody>
          <a:bodyPr/>
          <a:lstStyle/>
          <a:p>
            <a:fld id="{D1CF6110-3358-3240-B3E6-2B2529506D05}" type="slidenum">
              <a:rPr lang="da-DK" smtClean="0"/>
              <a:t>2</a:t>
            </a:fld>
            <a:endParaRPr lang="da-DK"/>
          </a:p>
        </p:txBody>
      </p:sp>
      <p:sp>
        <p:nvSpPr>
          <p:cNvPr id="7" name="Rectangle 6">
            <a:extLst>
              <a:ext uri="{FF2B5EF4-FFF2-40B4-BE49-F238E27FC236}">
                <a16:creationId xmlns:a16="http://schemas.microsoft.com/office/drawing/2014/main" id="{DFD0101B-A9F4-E12F-8DC6-9BA700209247}"/>
              </a:ext>
            </a:extLst>
          </p:cNvPr>
          <p:cNvSpPr/>
          <p:nvPr/>
        </p:nvSpPr>
        <p:spPr>
          <a:xfrm>
            <a:off x="2021268" y="5042406"/>
            <a:ext cx="2080895" cy="3467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a-DK" sz="1300" b="1" kern="100">
                <a:solidFill>
                  <a:srgbClr val="005850"/>
                </a:solidFill>
                <a:effectLst/>
                <a:ea typeface="Aptos" panose="020B0004020202020204" pitchFamily="34" charset="0"/>
                <a:cs typeface="Arial"/>
              </a:rPr>
              <a:t>[Boligorganisation logo]</a:t>
            </a:r>
            <a:endParaRPr lang="da-DK" sz="1100" kern="100">
              <a:solidFill>
                <a:srgbClr val="005850"/>
              </a:solidFill>
              <a:effectLst/>
              <a:ea typeface="Aptos" panose="020B0004020202020204" pitchFamily="34" charset="0"/>
              <a:cs typeface="Arial"/>
            </a:endParaRPr>
          </a:p>
        </p:txBody>
      </p:sp>
      <p:cxnSp>
        <p:nvCxnSpPr>
          <p:cNvPr id="8" name="Straight Connector 7">
            <a:extLst>
              <a:ext uri="{FF2B5EF4-FFF2-40B4-BE49-F238E27FC236}">
                <a16:creationId xmlns:a16="http://schemas.microsoft.com/office/drawing/2014/main" id="{37657677-3B07-8E5C-040F-4BF43DCDE901}"/>
              </a:ext>
            </a:extLst>
          </p:cNvPr>
          <p:cNvCxnSpPr/>
          <p:nvPr/>
        </p:nvCxnSpPr>
        <p:spPr>
          <a:xfrm>
            <a:off x="6158165" y="6449377"/>
            <a:ext cx="0" cy="16065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93" name="Rectangle: Rounded Corners 3">
            <a:extLst>
              <a:ext uri="{FF2B5EF4-FFF2-40B4-BE49-F238E27FC236}">
                <a16:creationId xmlns:a16="http://schemas.microsoft.com/office/drawing/2014/main" id="{BA9CF6C5-3727-2813-C006-29BF77DE0502}"/>
              </a:ext>
            </a:extLst>
          </p:cNvPr>
          <p:cNvSpPr/>
          <p:nvPr/>
        </p:nvSpPr>
        <p:spPr>
          <a:xfrm>
            <a:off x="6158165" y="1582803"/>
            <a:ext cx="5278206" cy="4188465"/>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278206"/>
                      <a:gd name="connsiteY0" fmla="*/ 0 h 4188465"/>
                      <a:gd name="connsiteX1" fmla="*/ 0 w 5278206"/>
                      <a:gd name="connsiteY1" fmla="*/ 0 h 4188465"/>
                      <a:gd name="connsiteX2" fmla="*/ 5278206 w 5278206"/>
                      <a:gd name="connsiteY2" fmla="*/ 0 h 4188465"/>
                      <a:gd name="connsiteX3" fmla="*/ 5278206 w 5278206"/>
                      <a:gd name="connsiteY3" fmla="*/ 0 h 4188465"/>
                      <a:gd name="connsiteX4" fmla="*/ 5278206 w 5278206"/>
                      <a:gd name="connsiteY4" fmla="*/ 4188465 h 4188465"/>
                      <a:gd name="connsiteX5" fmla="*/ 5278206 w 5278206"/>
                      <a:gd name="connsiteY5" fmla="*/ 4188465 h 4188465"/>
                      <a:gd name="connsiteX6" fmla="*/ 0 w 5278206"/>
                      <a:gd name="connsiteY6" fmla="*/ 4188465 h 4188465"/>
                      <a:gd name="connsiteX7" fmla="*/ 0 w 5278206"/>
                      <a:gd name="connsiteY7" fmla="*/ 4188465 h 4188465"/>
                      <a:gd name="connsiteX8" fmla="*/ 0 w 5278206"/>
                      <a:gd name="connsiteY8" fmla="*/ 0 h 4188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8206" h="4188465" fill="none" extrusionOk="0">
                        <a:moveTo>
                          <a:pt x="0" y="0"/>
                        </a:moveTo>
                        <a:lnTo>
                          <a:pt x="0" y="0"/>
                        </a:lnTo>
                        <a:cubicBezTo>
                          <a:pt x="1084147" y="-49533"/>
                          <a:pt x="2986820" y="-14809"/>
                          <a:pt x="5278206" y="0"/>
                        </a:cubicBezTo>
                        <a:lnTo>
                          <a:pt x="5278206" y="0"/>
                        </a:lnTo>
                        <a:cubicBezTo>
                          <a:pt x="5365845" y="1077474"/>
                          <a:pt x="5205527" y="3767677"/>
                          <a:pt x="5278206" y="4188465"/>
                        </a:cubicBezTo>
                        <a:lnTo>
                          <a:pt x="5278206" y="4188465"/>
                        </a:lnTo>
                        <a:cubicBezTo>
                          <a:pt x="3717139" y="4140234"/>
                          <a:pt x="2512357" y="4272920"/>
                          <a:pt x="0" y="4188465"/>
                        </a:cubicBezTo>
                        <a:lnTo>
                          <a:pt x="0" y="4188465"/>
                        </a:lnTo>
                        <a:cubicBezTo>
                          <a:pt x="-38581" y="3066423"/>
                          <a:pt x="63341" y="1804885"/>
                          <a:pt x="0" y="0"/>
                        </a:cubicBezTo>
                        <a:close/>
                      </a:path>
                      <a:path w="5278206" h="4188465" stroke="0" extrusionOk="0">
                        <a:moveTo>
                          <a:pt x="0" y="0"/>
                        </a:moveTo>
                        <a:lnTo>
                          <a:pt x="0" y="0"/>
                        </a:lnTo>
                        <a:cubicBezTo>
                          <a:pt x="2111477" y="118645"/>
                          <a:pt x="3609910" y="116012"/>
                          <a:pt x="5278206" y="0"/>
                        </a:cubicBezTo>
                        <a:lnTo>
                          <a:pt x="5278206" y="0"/>
                        </a:lnTo>
                        <a:cubicBezTo>
                          <a:pt x="5145324" y="1751637"/>
                          <a:pt x="5363157" y="2968606"/>
                          <a:pt x="5278206" y="4188465"/>
                        </a:cubicBezTo>
                        <a:lnTo>
                          <a:pt x="5278206" y="4188465"/>
                        </a:lnTo>
                        <a:cubicBezTo>
                          <a:pt x="3623603" y="4323065"/>
                          <a:pt x="2622389" y="4031269"/>
                          <a:pt x="0" y="4188465"/>
                        </a:cubicBezTo>
                        <a:lnTo>
                          <a:pt x="0" y="4188465"/>
                        </a:lnTo>
                        <a:cubicBezTo>
                          <a:pt x="-20187" y="2217890"/>
                          <a:pt x="-152480" y="98841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da-DK" sz="1400" i="1" dirty="0">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Tree>
    <p:extLst>
      <p:ext uri="{BB962C8B-B14F-4D97-AF65-F5344CB8AC3E}">
        <p14:creationId xmlns:p14="http://schemas.microsoft.com/office/powerpoint/2010/main" val="3537602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F5865-1951-5DB0-7EDA-D7F84068522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5E127CB-C12D-8349-662D-4FAFA4B6E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25E127CB-C12D-8349-662D-4FAFA4B6EC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0CF9ED50-7C1B-E620-3E40-920410F3284E}"/>
              </a:ext>
            </a:extLst>
          </p:cNvPr>
          <p:cNvSpPr>
            <a:spLocks noGrp="1"/>
          </p:cNvSpPr>
          <p:nvPr>
            <p:ph type="sldNum" sz="quarter" idx="12"/>
          </p:nvPr>
        </p:nvSpPr>
        <p:spPr/>
        <p:txBody>
          <a:bodyPr/>
          <a:lstStyle/>
          <a:p>
            <a:fld id="{D1CF6110-3358-3240-B3E6-2B2529506D05}" type="slidenum">
              <a:rPr lang="da-DK" smtClean="0"/>
              <a:t>20</a:t>
            </a:fld>
            <a:endParaRPr lang="da-DK"/>
          </a:p>
        </p:txBody>
      </p:sp>
      <p:sp>
        <p:nvSpPr>
          <p:cNvPr id="14" name="Title 1">
            <a:extLst>
              <a:ext uri="{FF2B5EF4-FFF2-40B4-BE49-F238E27FC236}">
                <a16:creationId xmlns:a16="http://schemas.microsoft.com/office/drawing/2014/main" id="{16285B2A-78B6-1B15-158D-98E5CCCE1EC3}"/>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1]</a:t>
            </a:r>
            <a:endParaRPr lang="da-DK" sz="4000" dirty="0">
              <a:solidFill>
                <a:srgbClr val="005850"/>
              </a:solidFill>
              <a:latin typeface="Verdana" panose="020B0604030504040204" pitchFamily="34" charset="0"/>
              <a:ea typeface="Verdana" panose="020B0604030504040204" pitchFamily="34" charset="0"/>
            </a:endParaRPr>
          </a:p>
        </p:txBody>
      </p:sp>
      <p:pic>
        <p:nvPicPr>
          <p:cNvPr id="2" name="Picture 1" descr="A pink circle with a white letter&#10;&#10;AI-generated content may be incorrect.">
            <a:extLst>
              <a:ext uri="{FF2B5EF4-FFF2-40B4-BE49-F238E27FC236}">
                <a16:creationId xmlns:a16="http://schemas.microsoft.com/office/drawing/2014/main" id="{785A31FF-22BC-C415-3A0F-E2DEB991A4B7}"/>
              </a:ext>
            </a:extLst>
          </p:cNvPr>
          <p:cNvPicPr>
            <a:picLocks noChangeAspect="1"/>
          </p:cNvPicPr>
          <p:nvPr/>
        </p:nvPicPr>
        <p:blipFill>
          <a:blip r:embed="rId5">
            <a:alphaModFix/>
          </a:blip>
          <a:stretch>
            <a:fillRect/>
          </a:stretch>
        </p:blipFill>
        <p:spPr>
          <a:xfrm>
            <a:off x="11094393" y="89320"/>
            <a:ext cx="600421" cy="661481"/>
          </a:xfrm>
          <a:prstGeom prst="rect">
            <a:avLst/>
          </a:prstGeom>
        </p:spPr>
      </p:pic>
      <p:sp>
        <p:nvSpPr>
          <p:cNvPr id="29" name="Rectangle: Rounded Corners 28">
            <a:extLst>
              <a:ext uri="{FF2B5EF4-FFF2-40B4-BE49-F238E27FC236}">
                <a16:creationId xmlns:a16="http://schemas.microsoft.com/office/drawing/2014/main" id="{D084966D-BA15-BC96-B20C-56B4E8FA95AA}"/>
              </a:ext>
            </a:extLst>
          </p:cNvPr>
          <p:cNvSpPr/>
          <p:nvPr/>
        </p:nvSpPr>
        <p:spPr>
          <a:xfrm>
            <a:off x="6233458" y="2383719"/>
            <a:ext cx="5461353" cy="3950473"/>
          </a:xfrm>
          <a:custGeom>
            <a:avLst/>
            <a:gdLst>
              <a:gd name="connsiteX0" fmla="*/ 0 w 5461353"/>
              <a:gd name="connsiteY0" fmla="*/ 0 h 3950473"/>
              <a:gd name="connsiteX1" fmla="*/ 0 w 5461353"/>
              <a:gd name="connsiteY1" fmla="*/ 0 h 3950473"/>
              <a:gd name="connsiteX2" fmla="*/ 791896 w 5461353"/>
              <a:gd name="connsiteY2" fmla="*/ 0 h 3950473"/>
              <a:gd name="connsiteX3" fmla="*/ 1419952 w 5461353"/>
              <a:gd name="connsiteY3" fmla="*/ 0 h 3950473"/>
              <a:gd name="connsiteX4" fmla="*/ 1993394 w 5461353"/>
              <a:gd name="connsiteY4" fmla="*/ 0 h 3950473"/>
              <a:gd name="connsiteX5" fmla="*/ 2512222 w 5461353"/>
              <a:gd name="connsiteY5" fmla="*/ 0 h 3950473"/>
              <a:gd name="connsiteX6" fmla="*/ 3194892 w 5461353"/>
              <a:gd name="connsiteY6" fmla="*/ 0 h 3950473"/>
              <a:gd name="connsiteX7" fmla="*/ 3768334 w 5461353"/>
              <a:gd name="connsiteY7" fmla="*/ 0 h 3950473"/>
              <a:gd name="connsiteX8" fmla="*/ 4505616 w 5461353"/>
              <a:gd name="connsiteY8" fmla="*/ 0 h 3950473"/>
              <a:gd name="connsiteX9" fmla="*/ 5461353 w 5461353"/>
              <a:gd name="connsiteY9" fmla="*/ 0 h 3950473"/>
              <a:gd name="connsiteX10" fmla="*/ 5461353 w 5461353"/>
              <a:gd name="connsiteY10" fmla="*/ 0 h 3950473"/>
              <a:gd name="connsiteX11" fmla="*/ 5461353 w 5461353"/>
              <a:gd name="connsiteY11" fmla="*/ 539898 h 3950473"/>
              <a:gd name="connsiteX12" fmla="*/ 5461353 w 5461353"/>
              <a:gd name="connsiteY12" fmla="*/ 1198310 h 3950473"/>
              <a:gd name="connsiteX13" fmla="*/ 5461353 w 5461353"/>
              <a:gd name="connsiteY13" fmla="*/ 1777713 h 3950473"/>
              <a:gd name="connsiteX14" fmla="*/ 5461353 w 5461353"/>
              <a:gd name="connsiteY14" fmla="*/ 2436125 h 3950473"/>
              <a:gd name="connsiteX15" fmla="*/ 5461353 w 5461353"/>
              <a:gd name="connsiteY15" fmla="*/ 2976023 h 3950473"/>
              <a:gd name="connsiteX16" fmla="*/ 5461353 w 5461353"/>
              <a:gd name="connsiteY16" fmla="*/ 3950473 h 3950473"/>
              <a:gd name="connsiteX17" fmla="*/ 5461353 w 5461353"/>
              <a:gd name="connsiteY17" fmla="*/ 3950473 h 3950473"/>
              <a:gd name="connsiteX18" fmla="*/ 4887911 w 5461353"/>
              <a:gd name="connsiteY18" fmla="*/ 3950473 h 3950473"/>
              <a:gd name="connsiteX19" fmla="*/ 4205242 w 5461353"/>
              <a:gd name="connsiteY19" fmla="*/ 3950473 h 3950473"/>
              <a:gd name="connsiteX20" fmla="*/ 3577186 w 5461353"/>
              <a:gd name="connsiteY20" fmla="*/ 3950473 h 3950473"/>
              <a:gd name="connsiteX21" fmla="*/ 3058358 w 5461353"/>
              <a:gd name="connsiteY21" fmla="*/ 3950473 h 3950473"/>
              <a:gd name="connsiteX22" fmla="*/ 2430302 w 5461353"/>
              <a:gd name="connsiteY22" fmla="*/ 3950473 h 3950473"/>
              <a:gd name="connsiteX23" fmla="*/ 1693019 w 5461353"/>
              <a:gd name="connsiteY23" fmla="*/ 3950473 h 3950473"/>
              <a:gd name="connsiteX24" fmla="*/ 1010350 w 5461353"/>
              <a:gd name="connsiteY24" fmla="*/ 3950473 h 3950473"/>
              <a:gd name="connsiteX25" fmla="*/ 0 w 5461353"/>
              <a:gd name="connsiteY25" fmla="*/ 3950473 h 3950473"/>
              <a:gd name="connsiteX26" fmla="*/ 0 w 5461353"/>
              <a:gd name="connsiteY26" fmla="*/ 3950473 h 3950473"/>
              <a:gd name="connsiteX27" fmla="*/ 0 w 5461353"/>
              <a:gd name="connsiteY27" fmla="*/ 3410575 h 3950473"/>
              <a:gd name="connsiteX28" fmla="*/ 0 w 5461353"/>
              <a:gd name="connsiteY28" fmla="*/ 2831172 h 3950473"/>
              <a:gd name="connsiteX29" fmla="*/ 0 w 5461353"/>
              <a:gd name="connsiteY29" fmla="*/ 2133255 h 3950473"/>
              <a:gd name="connsiteX30" fmla="*/ 0 w 5461353"/>
              <a:gd name="connsiteY30" fmla="*/ 1593357 h 3950473"/>
              <a:gd name="connsiteX31" fmla="*/ 0 w 5461353"/>
              <a:gd name="connsiteY31" fmla="*/ 974450 h 3950473"/>
              <a:gd name="connsiteX32" fmla="*/ 0 w 5461353"/>
              <a:gd name="connsiteY32" fmla="*/ 0 h 395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9504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9527" y="177665"/>
                  <a:pt x="5444040" y="293541"/>
                  <a:pt x="5461353" y="539898"/>
                </a:cubicBezTo>
                <a:cubicBezTo>
                  <a:pt x="5478666" y="786255"/>
                  <a:pt x="5455986" y="960120"/>
                  <a:pt x="5461353" y="1198310"/>
                </a:cubicBezTo>
                <a:cubicBezTo>
                  <a:pt x="5466720" y="1436500"/>
                  <a:pt x="5451441" y="1541728"/>
                  <a:pt x="5461353" y="1777713"/>
                </a:cubicBezTo>
                <a:cubicBezTo>
                  <a:pt x="5471265" y="2013698"/>
                  <a:pt x="5491270" y="2279903"/>
                  <a:pt x="5461353" y="2436125"/>
                </a:cubicBezTo>
                <a:cubicBezTo>
                  <a:pt x="5431436" y="2592347"/>
                  <a:pt x="5471012" y="2753752"/>
                  <a:pt x="5461353" y="2976023"/>
                </a:cubicBezTo>
                <a:cubicBezTo>
                  <a:pt x="5451694" y="3198294"/>
                  <a:pt x="5462085" y="3524155"/>
                  <a:pt x="5461353" y="3950473"/>
                </a:cubicBezTo>
                <a:lnTo>
                  <a:pt x="5461353" y="3950473"/>
                </a:lnTo>
                <a:cubicBezTo>
                  <a:pt x="5238880" y="3941886"/>
                  <a:pt x="5041401" y="3922034"/>
                  <a:pt x="4887911" y="3950473"/>
                </a:cubicBezTo>
                <a:cubicBezTo>
                  <a:pt x="4734421" y="3978912"/>
                  <a:pt x="4500958" y="3980049"/>
                  <a:pt x="4205242" y="3950473"/>
                </a:cubicBezTo>
                <a:cubicBezTo>
                  <a:pt x="3909526" y="3920897"/>
                  <a:pt x="3729356" y="3936832"/>
                  <a:pt x="3577186" y="3950473"/>
                </a:cubicBezTo>
                <a:cubicBezTo>
                  <a:pt x="3425016" y="3964114"/>
                  <a:pt x="3205077" y="3947454"/>
                  <a:pt x="3058358" y="3950473"/>
                </a:cubicBezTo>
                <a:cubicBezTo>
                  <a:pt x="2911639" y="3953492"/>
                  <a:pt x="2676384" y="3977185"/>
                  <a:pt x="2430302" y="3950473"/>
                </a:cubicBezTo>
                <a:cubicBezTo>
                  <a:pt x="2184220" y="3923761"/>
                  <a:pt x="1945052" y="3967397"/>
                  <a:pt x="1693019" y="3950473"/>
                </a:cubicBezTo>
                <a:cubicBezTo>
                  <a:pt x="1440986" y="3933549"/>
                  <a:pt x="1150111" y="3974327"/>
                  <a:pt x="1010350" y="3950473"/>
                </a:cubicBezTo>
                <a:cubicBezTo>
                  <a:pt x="870589" y="3926619"/>
                  <a:pt x="409237" y="3951722"/>
                  <a:pt x="0" y="3950473"/>
                </a:cubicBezTo>
                <a:lnTo>
                  <a:pt x="0" y="3950473"/>
                </a:lnTo>
                <a:cubicBezTo>
                  <a:pt x="22762" y="3772511"/>
                  <a:pt x="4987" y="3589156"/>
                  <a:pt x="0" y="3410575"/>
                </a:cubicBezTo>
                <a:cubicBezTo>
                  <a:pt x="-4987" y="3231994"/>
                  <a:pt x="6364" y="2994919"/>
                  <a:pt x="0" y="2831172"/>
                </a:cubicBezTo>
                <a:cubicBezTo>
                  <a:pt x="-6364" y="2667425"/>
                  <a:pt x="24556" y="2358056"/>
                  <a:pt x="0" y="2133255"/>
                </a:cubicBezTo>
                <a:cubicBezTo>
                  <a:pt x="-24556" y="1908454"/>
                  <a:pt x="-25159" y="1802817"/>
                  <a:pt x="0" y="1593357"/>
                </a:cubicBezTo>
                <a:cubicBezTo>
                  <a:pt x="25159" y="1383897"/>
                  <a:pt x="1646" y="1136676"/>
                  <a:pt x="0" y="974450"/>
                </a:cubicBezTo>
                <a:cubicBezTo>
                  <a:pt x="-1646" y="812224"/>
                  <a:pt x="-1921" y="418952"/>
                  <a:pt x="0" y="0"/>
                </a:cubicBezTo>
                <a:close/>
              </a:path>
              <a:path w="5461353" h="39504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41380" y="284240"/>
                  <a:pt x="5447070" y="417194"/>
                  <a:pt x="5461353" y="618907"/>
                </a:cubicBezTo>
                <a:cubicBezTo>
                  <a:pt x="5475636" y="820620"/>
                  <a:pt x="5456542" y="1011010"/>
                  <a:pt x="5461353" y="1356329"/>
                </a:cubicBezTo>
                <a:cubicBezTo>
                  <a:pt x="5466164" y="1701648"/>
                  <a:pt x="5481360" y="1664967"/>
                  <a:pt x="5461353" y="1935732"/>
                </a:cubicBezTo>
                <a:cubicBezTo>
                  <a:pt x="5441346" y="2206497"/>
                  <a:pt x="5464288" y="2303722"/>
                  <a:pt x="5461353" y="2594144"/>
                </a:cubicBezTo>
                <a:cubicBezTo>
                  <a:pt x="5458418" y="2884566"/>
                  <a:pt x="5453664" y="3003238"/>
                  <a:pt x="5461353" y="3134042"/>
                </a:cubicBezTo>
                <a:cubicBezTo>
                  <a:pt x="5469042" y="3264846"/>
                  <a:pt x="5496280" y="3585137"/>
                  <a:pt x="5461353" y="3950473"/>
                </a:cubicBezTo>
                <a:lnTo>
                  <a:pt x="5461353" y="3950473"/>
                </a:lnTo>
                <a:cubicBezTo>
                  <a:pt x="5229711" y="3929721"/>
                  <a:pt x="5055871" y="3957823"/>
                  <a:pt x="4887911" y="3950473"/>
                </a:cubicBezTo>
                <a:cubicBezTo>
                  <a:pt x="4719951" y="3943123"/>
                  <a:pt x="4440828" y="3977647"/>
                  <a:pt x="4259855" y="3950473"/>
                </a:cubicBezTo>
                <a:cubicBezTo>
                  <a:pt x="4078882" y="3923299"/>
                  <a:pt x="3931066" y="3923101"/>
                  <a:pt x="3686413" y="3950473"/>
                </a:cubicBezTo>
                <a:cubicBezTo>
                  <a:pt x="3441760" y="3977845"/>
                  <a:pt x="3372027" y="3920701"/>
                  <a:pt x="3058358" y="3950473"/>
                </a:cubicBezTo>
                <a:cubicBezTo>
                  <a:pt x="2744689" y="3980245"/>
                  <a:pt x="2531520" y="3922143"/>
                  <a:pt x="2375689" y="3950473"/>
                </a:cubicBezTo>
                <a:cubicBezTo>
                  <a:pt x="2219858" y="3978803"/>
                  <a:pt x="1841665" y="3947327"/>
                  <a:pt x="1693019" y="3950473"/>
                </a:cubicBezTo>
                <a:cubicBezTo>
                  <a:pt x="1544373" y="3953620"/>
                  <a:pt x="1298560" y="3965289"/>
                  <a:pt x="1064964" y="3950473"/>
                </a:cubicBezTo>
                <a:cubicBezTo>
                  <a:pt x="831368" y="3935657"/>
                  <a:pt x="328842" y="3917552"/>
                  <a:pt x="0" y="3950473"/>
                </a:cubicBezTo>
                <a:lnTo>
                  <a:pt x="0" y="3950473"/>
                </a:lnTo>
                <a:cubicBezTo>
                  <a:pt x="-8174" y="3625461"/>
                  <a:pt x="-26611" y="3410639"/>
                  <a:pt x="0" y="3252556"/>
                </a:cubicBezTo>
                <a:cubicBezTo>
                  <a:pt x="26611" y="3094473"/>
                  <a:pt x="8232" y="2770079"/>
                  <a:pt x="0" y="2633649"/>
                </a:cubicBezTo>
                <a:cubicBezTo>
                  <a:pt x="-8232" y="2497219"/>
                  <a:pt x="32161" y="2287419"/>
                  <a:pt x="0" y="1975237"/>
                </a:cubicBezTo>
                <a:cubicBezTo>
                  <a:pt x="-32161" y="1663055"/>
                  <a:pt x="-4025" y="1627455"/>
                  <a:pt x="0" y="1435339"/>
                </a:cubicBezTo>
                <a:cubicBezTo>
                  <a:pt x="4025" y="1243223"/>
                  <a:pt x="-22847" y="930906"/>
                  <a:pt x="0" y="776926"/>
                </a:cubicBezTo>
                <a:cubicBezTo>
                  <a:pt x="22847" y="622946"/>
                  <a:pt x="24321" y="342891"/>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00D46342-EA34-FF77-CE59-56E5C2771B59}"/>
              </a:ext>
            </a:extLst>
          </p:cNvPr>
          <p:cNvSpPr/>
          <p:nvPr/>
        </p:nvSpPr>
        <p:spPr>
          <a:xfrm>
            <a:off x="6233455" y="2458817"/>
            <a:ext cx="5461359" cy="3880277"/>
          </a:xfrm>
          <a:custGeom>
            <a:avLst/>
            <a:gdLst>
              <a:gd name="connsiteX0" fmla="*/ 0 w 5461359"/>
              <a:gd name="connsiteY0" fmla="*/ 0 h 3880277"/>
              <a:gd name="connsiteX1" fmla="*/ 737283 w 5461359"/>
              <a:gd name="connsiteY1" fmla="*/ 0 h 3880277"/>
              <a:gd name="connsiteX2" fmla="*/ 1310726 w 5461359"/>
              <a:gd name="connsiteY2" fmla="*/ 0 h 3880277"/>
              <a:gd name="connsiteX3" fmla="*/ 2048010 w 5461359"/>
              <a:gd name="connsiteY3" fmla="*/ 0 h 3880277"/>
              <a:gd name="connsiteX4" fmla="*/ 2566839 w 5461359"/>
              <a:gd name="connsiteY4" fmla="*/ 0 h 3880277"/>
              <a:gd name="connsiteX5" fmla="*/ 3140281 w 5461359"/>
              <a:gd name="connsiteY5" fmla="*/ 0 h 3880277"/>
              <a:gd name="connsiteX6" fmla="*/ 3822951 w 5461359"/>
              <a:gd name="connsiteY6" fmla="*/ 0 h 3880277"/>
              <a:gd name="connsiteX7" fmla="*/ 4560235 w 5461359"/>
              <a:gd name="connsiteY7" fmla="*/ 0 h 3880277"/>
              <a:gd name="connsiteX8" fmla="*/ 5461359 w 5461359"/>
              <a:gd name="connsiteY8" fmla="*/ 0 h 3880277"/>
              <a:gd name="connsiteX9" fmla="*/ 5461359 w 5461359"/>
              <a:gd name="connsiteY9" fmla="*/ 607910 h 3880277"/>
              <a:gd name="connsiteX10" fmla="*/ 5461359 w 5461359"/>
              <a:gd name="connsiteY10" fmla="*/ 1138215 h 3880277"/>
              <a:gd name="connsiteX11" fmla="*/ 5461359 w 5461359"/>
              <a:gd name="connsiteY11" fmla="*/ 1746125 h 3880277"/>
              <a:gd name="connsiteX12" fmla="*/ 5461359 w 5461359"/>
              <a:gd name="connsiteY12" fmla="*/ 2354035 h 3880277"/>
              <a:gd name="connsiteX13" fmla="*/ 5461359 w 5461359"/>
              <a:gd name="connsiteY13" fmla="*/ 3039550 h 3880277"/>
              <a:gd name="connsiteX14" fmla="*/ 5461359 w 5461359"/>
              <a:gd name="connsiteY14" fmla="*/ 3880277 h 3880277"/>
              <a:gd name="connsiteX15" fmla="*/ 4833303 w 5461359"/>
              <a:gd name="connsiteY15" fmla="*/ 3880277 h 3880277"/>
              <a:gd name="connsiteX16" fmla="*/ 4205246 w 5461359"/>
              <a:gd name="connsiteY16" fmla="*/ 3880277 h 3880277"/>
              <a:gd name="connsiteX17" fmla="*/ 3686417 w 5461359"/>
              <a:gd name="connsiteY17" fmla="*/ 3880277 h 3880277"/>
              <a:gd name="connsiteX18" fmla="*/ 2949134 w 5461359"/>
              <a:gd name="connsiteY18" fmla="*/ 3880277 h 3880277"/>
              <a:gd name="connsiteX19" fmla="*/ 2430305 w 5461359"/>
              <a:gd name="connsiteY19" fmla="*/ 3880277 h 3880277"/>
              <a:gd name="connsiteX20" fmla="*/ 1911476 w 5461359"/>
              <a:gd name="connsiteY20" fmla="*/ 3880277 h 3880277"/>
              <a:gd name="connsiteX21" fmla="*/ 1338033 w 5461359"/>
              <a:gd name="connsiteY21" fmla="*/ 3880277 h 3880277"/>
              <a:gd name="connsiteX22" fmla="*/ 600749 w 5461359"/>
              <a:gd name="connsiteY22" fmla="*/ 3880277 h 3880277"/>
              <a:gd name="connsiteX23" fmla="*/ 0 w 5461359"/>
              <a:gd name="connsiteY23" fmla="*/ 3880277 h 3880277"/>
              <a:gd name="connsiteX24" fmla="*/ 0 w 5461359"/>
              <a:gd name="connsiteY24" fmla="*/ 3311170 h 3880277"/>
              <a:gd name="connsiteX25" fmla="*/ 0 w 5461359"/>
              <a:gd name="connsiteY25" fmla="*/ 2664457 h 3880277"/>
              <a:gd name="connsiteX26" fmla="*/ 0 w 5461359"/>
              <a:gd name="connsiteY26" fmla="*/ 2095350 h 3880277"/>
              <a:gd name="connsiteX27" fmla="*/ 0 w 5461359"/>
              <a:gd name="connsiteY27" fmla="*/ 1409834 h 3880277"/>
              <a:gd name="connsiteX28" fmla="*/ 0 w 5461359"/>
              <a:gd name="connsiteY28" fmla="*/ 840727 h 3880277"/>
              <a:gd name="connsiteX29" fmla="*/ 0 w 5461359"/>
              <a:gd name="connsiteY29" fmla="*/ 0 h 388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9" h="3880277"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9470" y="929243"/>
                  <a:pt x="5461359" y="1138215"/>
                </a:cubicBezTo>
                <a:cubicBezTo>
                  <a:pt x="5483248" y="1347188"/>
                  <a:pt x="5455528" y="1465241"/>
                  <a:pt x="5461359" y="1746125"/>
                </a:cubicBezTo>
                <a:cubicBezTo>
                  <a:pt x="5467191" y="2027009"/>
                  <a:pt x="5464505" y="2058593"/>
                  <a:pt x="5461359" y="2354035"/>
                </a:cubicBezTo>
                <a:cubicBezTo>
                  <a:pt x="5458214" y="2649477"/>
                  <a:pt x="5454955" y="2729372"/>
                  <a:pt x="5461359" y="3039550"/>
                </a:cubicBezTo>
                <a:cubicBezTo>
                  <a:pt x="5467763" y="3349729"/>
                  <a:pt x="5496583" y="3466685"/>
                  <a:pt x="5461359" y="3880277"/>
                </a:cubicBezTo>
                <a:cubicBezTo>
                  <a:pt x="5311886" y="3877125"/>
                  <a:pt x="5143050" y="3870877"/>
                  <a:pt x="4833303" y="3880277"/>
                </a:cubicBezTo>
                <a:cubicBezTo>
                  <a:pt x="4523556" y="3889677"/>
                  <a:pt x="4417068" y="3849235"/>
                  <a:pt x="4205246" y="3880277"/>
                </a:cubicBezTo>
                <a:cubicBezTo>
                  <a:pt x="3993424" y="3911319"/>
                  <a:pt x="3880589" y="3864540"/>
                  <a:pt x="3686417" y="3880277"/>
                </a:cubicBezTo>
                <a:cubicBezTo>
                  <a:pt x="3492245" y="3896014"/>
                  <a:pt x="3175419" y="3869679"/>
                  <a:pt x="2949134" y="3880277"/>
                </a:cubicBezTo>
                <a:cubicBezTo>
                  <a:pt x="2722849" y="3890875"/>
                  <a:pt x="2590123" y="3860811"/>
                  <a:pt x="2430305" y="3880277"/>
                </a:cubicBezTo>
                <a:cubicBezTo>
                  <a:pt x="2270487" y="3899743"/>
                  <a:pt x="2117864" y="3901590"/>
                  <a:pt x="1911476" y="3880277"/>
                </a:cubicBezTo>
                <a:cubicBezTo>
                  <a:pt x="1705088" y="3858964"/>
                  <a:pt x="1458050" y="3906157"/>
                  <a:pt x="1338033" y="3880277"/>
                </a:cubicBezTo>
                <a:cubicBezTo>
                  <a:pt x="1218016" y="3854397"/>
                  <a:pt x="809455" y="3910304"/>
                  <a:pt x="600749" y="3880277"/>
                </a:cubicBezTo>
                <a:cubicBezTo>
                  <a:pt x="392043" y="3850250"/>
                  <a:pt x="192494" y="3906157"/>
                  <a:pt x="0" y="3880277"/>
                </a:cubicBezTo>
                <a:cubicBezTo>
                  <a:pt x="-12608" y="3680374"/>
                  <a:pt x="-23297" y="3548028"/>
                  <a:pt x="0" y="3311170"/>
                </a:cubicBezTo>
                <a:cubicBezTo>
                  <a:pt x="23297" y="3074312"/>
                  <a:pt x="26460" y="2892221"/>
                  <a:pt x="0" y="2664457"/>
                </a:cubicBezTo>
                <a:cubicBezTo>
                  <a:pt x="-26460" y="2436693"/>
                  <a:pt x="-431" y="2313349"/>
                  <a:pt x="0" y="2095350"/>
                </a:cubicBezTo>
                <a:cubicBezTo>
                  <a:pt x="431" y="1877351"/>
                  <a:pt x="3083" y="1620604"/>
                  <a:pt x="0" y="1409834"/>
                </a:cubicBezTo>
                <a:cubicBezTo>
                  <a:pt x="-3083" y="1199064"/>
                  <a:pt x="-27005" y="981378"/>
                  <a:pt x="0" y="840727"/>
                </a:cubicBezTo>
                <a:cubicBezTo>
                  <a:pt x="27005" y="700076"/>
                  <a:pt x="18149" y="364990"/>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Rounded Corners 25">
            <a:extLst>
              <a:ext uri="{FF2B5EF4-FFF2-40B4-BE49-F238E27FC236}">
                <a16:creationId xmlns:a16="http://schemas.microsoft.com/office/drawing/2014/main" id="{A192036B-C1DE-149B-A1D9-42CA475AE411}"/>
              </a:ext>
            </a:extLst>
          </p:cNvPr>
          <p:cNvSpPr/>
          <p:nvPr/>
        </p:nvSpPr>
        <p:spPr>
          <a:xfrm>
            <a:off x="497187" y="2388915"/>
            <a:ext cx="5461353" cy="3945278"/>
          </a:xfrm>
          <a:custGeom>
            <a:avLst/>
            <a:gdLst>
              <a:gd name="connsiteX0" fmla="*/ 0 w 5461353"/>
              <a:gd name="connsiteY0" fmla="*/ 0 h 3945278"/>
              <a:gd name="connsiteX1" fmla="*/ 0 w 5461353"/>
              <a:gd name="connsiteY1" fmla="*/ 0 h 3945278"/>
              <a:gd name="connsiteX2" fmla="*/ 791896 w 5461353"/>
              <a:gd name="connsiteY2" fmla="*/ 0 h 3945278"/>
              <a:gd name="connsiteX3" fmla="*/ 1419952 w 5461353"/>
              <a:gd name="connsiteY3" fmla="*/ 0 h 3945278"/>
              <a:gd name="connsiteX4" fmla="*/ 1993394 w 5461353"/>
              <a:gd name="connsiteY4" fmla="*/ 0 h 3945278"/>
              <a:gd name="connsiteX5" fmla="*/ 2512222 w 5461353"/>
              <a:gd name="connsiteY5" fmla="*/ 0 h 3945278"/>
              <a:gd name="connsiteX6" fmla="*/ 3194892 w 5461353"/>
              <a:gd name="connsiteY6" fmla="*/ 0 h 3945278"/>
              <a:gd name="connsiteX7" fmla="*/ 3768334 w 5461353"/>
              <a:gd name="connsiteY7" fmla="*/ 0 h 3945278"/>
              <a:gd name="connsiteX8" fmla="*/ 4505616 w 5461353"/>
              <a:gd name="connsiteY8" fmla="*/ 0 h 3945278"/>
              <a:gd name="connsiteX9" fmla="*/ 5461353 w 5461353"/>
              <a:gd name="connsiteY9" fmla="*/ 0 h 3945278"/>
              <a:gd name="connsiteX10" fmla="*/ 5461353 w 5461353"/>
              <a:gd name="connsiteY10" fmla="*/ 0 h 3945278"/>
              <a:gd name="connsiteX11" fmla="*/ 5461353 w 5461353"/>
              <a:gd name="connsiteY11" fmla="*/ 539188 h 3945278"/>
              <a:gd name="connsiteX12" fmla="*/ 5461353 w 5461353"/>
              <a:gd name="connsiteY12" fmla="*/ 1196734 h 3945278"/>
              <a:gd name="connsiteX13" fmla="*/ 5461353 w 5461353"/>
              <a:gd name="connsiteY13" fmla="*/ 1775375 h 3945278"/>
              <a:gd name="connsiteX14" fmla="*/ 5461353 w 5461353"/>
              <a:gd name="connsiteY14" fmla="*/ 2432921 h 3945278"/>
              <a:gd name="connsiteX15" fmla="*/ 5461353 w 5461353"/>
              <a:gd name="connsiteY15" fmla="*/ 2972109 h 3945278"/>
              <a:gd name="connsiteX16" fmla="*/ 5461353 w 5461353"/>
              <a:gd name="connsiteY16" fmla="*/ 3945278 h 3945278"/>
              <a:gd name="connsiteX17" fmla="*/ 5461353 w 5461353"/>
              <a:gd name="connsiteY17" fmla="*/ 3945278 h 3945278"/>
              <a:gd name="connsiteX18" fmla="*/ 4887911 w 5461353"/>
              <a:gd name="connsiteY18" fmla="*/ 3945278 h 3945278"/>
              <a:gd name="connsiteX19" fmla="*/ 4205242 w 5461353"/>
              <a:gd name="connsiteY19" fmla="*/ 3945278 h 3945278"/>
              <a:gd name="connsiteX20" fmla="*/ 3577186 w 5461353"/>
              <a:gd name="connsiteY20" fmla="*/ 3945278 h 3945278"/>
              <a:gd name="connsiteX21" fmla="*/ 3058358 w 5461353"/>
              <a:gd name="connsiteY21" fmla="*/ 3945278 h 3945278"/>
              <a:gd name="connsiteX22" fmla="*/ 2430302 w 5461353"/>
              <a:gd name="connsiteY22" fmla="*/ 3945278 h 3945278"/>
              <a:gd name="connsiteX23" fmla="*/ 1693019 w 5461353"/>
              <a:gd name="connsiteY23" fmla="*/ 3945278 h 3945278"/>
              <a:gd name="connsiteX24" fmla="*/ 1010350 w 5461353"/>
              <a:gd name="connsiteY24" fmla="*/ 3945278 h 3945278"/>
              <a:gd name="connsiteX25" fmla="*/ 0 w 5461353"/>
              <a:gd name="connsiteY25" fmla="*/ 3945278 h 3945278"/>
              <a:gd name="connsiteX26" fmla="*/ 0 w 5461353"/>
              <a:gd name="connsiteY26" fmla="*/ 3945278 h 3945278"/>
              <a:gd name="connsiteX27" fmla="*/ 0 w 5461353"/>
              <a:gd name="connsiteY27" fmla="*/ 3406090 h 3945278"/>
              <a:gd name="connsiteX28" fmla="*/ 0 w 5461353"/>
              <a:gd name="connsiteY28" fmla="*/ 2827449 h 3945278"/>
              <a:gd name="connsiteX29" fmla="*/ 0 w 5461353"/>
              <a:gd name="connsiteY29" fmla="*/ 2130450 h 3945278"/>
              <a:gd name="connsiteX30" fmla="*/ 0 w 5461353"/>
              <a:gd name="connsiteY30" fmla="*/ 1591262 h 3945278"/>
              <a:gd name="connsiteX31" fmla="*/ 0 w 5461353"/>
              <a:gd name="connsiteY31" fmla="*/ 973169 h 3945278"/>
              <a:gd name="connsiteX32" fmla="*/ 0 w 5461353"/>
              <a:gd name="connsiteY32" fmla="*/ 0 h 394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945278"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77359" y="239067"/>
                  <a:pt x="5442113" y="372834"/>
                  <a:pt x="5461353" y="539188"/>
                </a:cubicBezTo>
                <a:cubicBezTo>
                  <a:pt x="5480593" y="705542"/>
                  <a:pt x="5464434" y="984860"/>
                  <a:pt x="5461353" y="1196734"/>
                </a:cubicBezTo>
                <a:cubicBezTo>
                  <a:pt x="5458272" y="1408608"/>
                  <a:pt x="5439957" y="1549714"/>
                  <a:pt x="5461353" y="1775375"/>
                </a:cubicBezTo>
                <a:cubicBezTo>
                  <a:pt x="5482749" y="2001036"/>
                  <a:pt x="5452377" y="2125116"/>
                  <a:pt x="5461353" y="2432921"/>
                </a:cubicBezTo>
                <a:cubicBezTo>
                  <a:pt x="5470329" y="2740726"/>
                  <a:pt x="5436163" y="2740936"/>
                  <a:pt x="5461353" y="2972109"/>
                </a:cubicBezTo>
                <a:cubicBezTo>
                  <a:pt x="5486543" y="3203282"/>
                  <a:pt x="5483528" y="3609036"/>
                  <a:pt x="5461353" y="3945278"/>
                </a:cubicBezTo>
                <a:lnTo>
                  <a:pt x="5461353" y="3945278"/>
                </a:lnTo>
                <a:cubicBezTo>
                  <a:pt x="5238880" y="3936691"/>
                  <a:pt x="5041401" y="3916839"/>
                  <a:pt x="4887911" y="3945278"/>
                </a:cubicBezTo>
                <a:cubicBezTo>
                  <a:pt x="4734421" y="3973717"/>
                  <a:pt x="4500958" y="3974854"/>
                  <a:pt x="4205242" y="3945278"/>
                </a:cubicBezTo>
                <a:cubicBezTo>
                  <a:pt x="3909526" y="3915702"/>
                  <a:pt x="3729356" y="3931637"/>
                  <a:pt x="3577186" y="3945278"/>
                </a:cubicBezTo>
                <a:cubicBezTo>
                  <a:pt x="3425016" y="3958919"/>
                  <a:pt x="3205077" y="3942259"/>
                  <a:pt x="3058358" y="3945278"/>
                </a:cubicBezTo>
                <a:cubicBezTo>
                  <a:pt x="2911639" y="3948297"/>
                  <a:pt x="2676384" y="3971990"/>
                  <a:pt x="2430302" y="3945278"/>
                </a:cubicBezTo>
                <a:cubicBezTo>
                  <a:pt x="2184220" y="3918566"/>
                  <a:pt x="1945052" y="3962202"/>
                  <a:pt x="1693019" y="3945278"/>
                </a:cubicBezTo>
                <a:cubicBezTo>
                  <a:pt x="1440986" y="3928354"/>
                  <a:pt x="1150111" y="3969132"/>
                  <a:pt x="1010350" y="3945278"/>
                </a:cubicBezTo>
                <a:cubicBezTo>
                  <a:pt x="870589" y="3921424"/>
                  <a:pt x="409237" y="3946527"/>
                  <a:pt x="0" y="3945278"/>
                </a:cubicBezTo>
                <a:lnTo>
                  <a:pt x="0" y="3945278"/>
                </a:lnTo>
                <a:cubicBezTo>
                  <a:pt x="26106" y="3762179"/>
                  <a:pt x="16313" y="3549495"/>
                  <a:pt x="0" y="3406090"/>
                </a:cubicBezTo>
                <a:cubicBezTo>
                  <a:pt x="-16313" y="3262685"/>
                  <a:pt x="14862" y="2949299"/>
                  <a:pt x="0" y="2827449"/>
                </a:cubicBezTo>
                <a:cubicBezTo>
                  <a:pt x="-14862" y="2705599"/>
                  <a:pt x="17124" y="2397446"/>
                  <a:pt x="0" y="2130450"/>
                </a:cubicBezTo>
                <a:cubicBezTo>
                  <a:pt x="-17124" y="1863454"/>
                  <a:pt x="-26369" y="1728761"/>
                  <a:pt x="0" y="1591262"/>
                </a:cubicBezTo>
                <a:cubicBezTo>
                  <a:pt x="26369" y="1453763"/>
                  <a:pt x="-30741" y="1195875"/>
                  <a:pt x="0" y="973169"/>
                </a:cubicBezTo>
                <a:cubicBezTo>
                  <a:pt x="30741" y="750463"/>
                  <a:pt x="-2961" y="286441"/>
                  <a:pt x="0" y="0"/>
                </a:cubicBezTo>
                <a:close/>
              </a:path>
              <a:path w="5461353" h="3945278"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2901" y="167655"/>
                  <a:pt x="5446576" y="403728"/>
                  <a:pt x="5461353" y="618094"/>
                </a:cubicBezTo>
                <a:cubicBezTo>
                  <a:pt x="5476130" y="832460"/>
                  <a:pt x="5474990" y="1121208"/>
                  <a:pt x="5461353" y="1354545"/>
                </a:cubicBezTo>
                <a:cubicBezTo>
                  <a:pt x="5447716" y="1587882"/>
                  <a:pt x="5478276" y="1717462"/>
                  <a:pt x="5461353" y="1933186"/>
                </a:cubicBezTo>
                <a:cubicBezTo>
                  <a:pt x="5444430" y="2148910"/>
                  <a:pt x="5437738" y="2290116"/>
                  <a:pt x="5461353" y="2590733"/>
                </a:cubicBezTo>
                <a:cubicBezTo>
                  <a:pt x="5484968" y="2891350"/>
                  <a:pt x="5443889" y="2964468"/>
                  <a:pt x="5461353" y="3129921"/>
                </a:cubicBezTo>
                <a:cubicBezTo>
                  <a:pt x="5478817" y="3295374"/>
                  <a:pt x="5447834" y="3735460"/>
                  <a:pt x="5461353" y="3945278"/>
                </a:cubicBezTo>
                <a:lnTo>
                  <a:pt x="5461353" y="3945278"/>
                </a:lnTo>
                <a:cubicBezTo>
                  <a:pt x="5229711" y="3924526"/>
                  <a:pt x="5055871" y="3952628"/>
                  <a:pt x="4887911" y="3945278"/>
                </a:cubicBezTo>
                <a:cubicBezTo>
                  <a:pt x="4719951" y="3937928"/>
                  <a:pt x="4440828" y="3972452"/>
                  <a:pt x="4259855" y="3945278"/>
                </a:cubicBezTo>
                <a:cubicBezTo>
                  <a:pt x="4078882" y="3918104"/>
                  <a:pt x="3931066" y="3917906"/>
                  <a:pt x="3686413" y="3945278"/>
                </a:cubicBezTo>
                <a:cubicBezTo>
                  <a:pt x="3441760" y="3972650"/>
                  <a:pt x="3372027" y="3915506"/>
                  <a:pt x="3058358" y="3945278"/>
                </a:cubicBezTo>
                <a:cubicBezTo>
                  <a:pt x="2744689" y="3975050"/>
                  <a:pt x="2531520" y="3916948"/>
                  <a:pt x="2375689" y="3945278"/>
                </a:cubicBezTo>
                <a:cubicBezTo>
                  <a:pt x="2219858" y="3973608"/>
                  <a:pt x="1841665" y="3942132"/>
                  <a:pt x="1693019" y="3945278"/>
                </a:cubicBezTo>
                <a:cubicBezTo>
                  <a:pt x="1544373" y="3948425"/>
                  <a:pt x="1298560" y="3960094"/>
                  <a:pt x="1064964" y="3945278"/>
                </a:cubicBezTo>
                <a:cubicBezTo>
                  <a:pt x="831368" y="3930462"/>
                  <a:pt x="328842" y="3912357"/>
                  <a:pt x="0" y="3945278"/>
                </a:cubicBezTo>
                <a:lnTo>
                  <a:pt x="0" y="3945278"/>
                </a:lnTo>
                <a:cubicBezTo>
                  <a:pt x="-20438" y="3758168"/>
                  <a:pt x="5751" y="3567720"/>
                  <a:pt x="0" y="3248279"/>
                </a:cubicBezTo>
                <a:cubicBezTo>
                  <a:pt x="-5751" y="2928838"/>
                  <a:pt x="17490" y="2917511"/>
                  <a:pt x="0" y="2630185"/>
                </a:cubicBezTo>
                <a:cubicBezTo>
                  <a:pt x="-17490" y="2342859"/>
                  <a:pt x="-21253" y="2104304"/>
                  <a:pt x="0" y="1972639"/>
                </a:cubicBezTo>
                <a:cubicBezTo>
                  <a:pt x="21253" y="1840974"/>
                  <a:pt x="6201" y="1700660"/>
                  <a:pt x="0" y="1433451"/>
                </a:cubicBezTo>
                <a:cubicBezTo>
                  <a:pt x="-6201" y="1166242"/>
                  <a:pt x="4378" y="1049945"/>
                  <a:pt x="0" y="775905"/>
                </a:cubicBezTo>
                <a:cubicBezTo>
                  <a:pt x="-4378" y="501865"/>
                  <a:pt x="-16333" y="247700"/>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721CCF6A-DBB8-F544-8E76-D1DD01ECE8A9}"/>
              </a:ext>
            </a:extLst>
          </p:cNvPr>
          <p:cNvSpPr/>
          <p:nvPr/>
        </p:nvSpPr>
        <p:spPr>
          <a:xfrm>
            <a:off x="497184" y="2458819"/>
            <a:ext cx="5461359" cy="3880276"/>
          </a:xfrm>
          <a:custGeom>
            <a:avLst/>
            <a:gdLst>
              <a:gd name="connsiteX0" fmla="*/ 0 w 5461359"/>
              <a:gd name="connsiteY0" fmla="*/ 0 h 3880276"/>
              <a:gd name="connsiteX1" fmla="*/ 737283 w 5461359"/>
              <a:gd name="connsiteY1" fmla="*/ 0 h 3880276"/>
              <a:gd name="connsiteX2" fmla="*/ 1310726 w 5461359"/>
              <a:gd name="connsiteY2" fmla="*/ 0 h 3880276"/>
              <a:gd name="connsiteX3" fmla="*/ 2048010 w 5461359"/>
              <a:gd name="connsiteY3" fmla="*/ 0 h 3880276"/>
              <a:gd name="connsiteX4" fmla="*/ 2566839 w 5461359"/>
              <a:gd name="connsiteY4" fmla="*/ 0 h 3880276"/>
              <a:gd name="connsiteX5" fmla="*/ 3140281 w 5461359"/>
              <a:gd name="connsiteY5" fmla="*/ 0 h 3880276"/>
              <a:gd name="connsiteX6" fmla="*/ 3822951 w 5461359"/>
              <a:gd name="connsiteY6" fmla="*/ 0 h 3880276"/>
              <a:gd name="connsiteX7" fmla="*/ 4560235 w 5461359"/>
              <a:gd name="connsiteY7" fmla="*/ 0 h 3880276"/>
              <a:gd name="connsiteX8" fmla="*/ 5461359 w 5461359"/>
              <a:gd name="connsiteY8" fmla="*/ 0 h 3880276"/>
              <a:gd name="connsiteX9" fmla="*/ 5461359 w 5461359"/>
              <a:gd name="connsiteY9" fmla="*/ 607910 h 3880276"/>
              <a:gd name="connsiteX10" fmla="*/ 5461359 w 5461359"/>
              <a:gd name="connsiteY10" fmla="*/ 1138214 h 3880276"/>
              <a:gd name="connsiteX11" fmla="*/ 5461359 w 5461359"/>
              <a:gd name="connsiteY11" fmla="*/ 1746124 h 3880276"/>
              <a:gd name="connsiteX12" fmla="*/ 5461359 w 5461359"/>
              <a:gd name="connsiteY12" fmla="*/ 2354034 h 3880276"/>
              <a:gd name="connsiteX13" fmla="*/ 5461359 w 5461359"/>
              <a:gd name="connsiteY13" fmla="*/ 3039550 h 3880276"/>
              <a:gd name="connsiteX14" fmla="*/ 5461359 w 5461359"/>
              <a:gd name="connsiteY14" fmla="*/ 3880276 h 3880276"/>
              <a:gd name="connsiteX15" fmla="*/ 4833303 w 5461359"/>
              <a:gd name="connsiteY15" fmla="*/ 3880276 h 3880276"/>
              <a:gd name="connsiteX16" fmla="*/ 4205246 w 5461359"/>
              <a:gd name="connsiteY16" fmla="*/ 3880276 h 3880276"/>
              <a:gd name="connsiteX17" fmla="*/ 3686417 w 5461359"/>
              <a:gd name="connsiteY17" fmla="*/ 3880276 h 3880276"/>
              <a:gd name="connsiteX18" fmla="*/ 2949134 w 5461359"/>
              <a:gd name="connsiteY18" fmla="*/ 3880276 h 3880276"/>
              <a:gd name="connsiteX19" fmla="*/ 2430305 w 5461359"/>
              <a:gd name="connsiteY19" fmla="*/ 3880276 h 3880276"/>
              <a:gd name="connsiteX20" fmla="*/ 1911476 w 5461359"/>
              <a:gd name="connsiteY20" fmla="*/ 3880276 h 3880276"/>
              <a:gd name="connsiteX21" fmla="*/ 1338033 w 5461359"/>
              <a:gd name="connsiteY21" fmla="*/ 3880276 h 3880276"/>
              <a:gd name="connsiteX22" fmla="*/ 600749 w 5461359"/>
              <a:gd name="connsiteY22" fmla="*/ 3880276 h 3880276"/>
              <a:gd name="connsiteX23" fmla="*/ 0 w 5461359"/>
              <a:gd name="connsiteY23" fmla="*/ 3880276 h 3880276"/>
              <a:gd name="connsiteX24" fmla="*/ 0 w 5461359"/>
              <a:gd name="connsiteY24" fmla="*/ 3311169 h 3880276"/>
              <a:gd name="connsiteX25" fmla="*/ 0 w 5461359"/>
              <a:gd name="connsiteY25" fmla="*/ 2664456 h 3880276"/>
              <a:gd name="connsiteX26" fmla="*/ 0 w 5461359"/>
              <a:gd name="connsiteY26" fmla="*/ 2095349 h 3880276"/>
              <a:gd name="connsiteX27" fmla="*/ 0 w 5461359"/>
              <a:gd name="connsiteY27" fmla="*/ 1409834 h 3880276"/>
              <a:gd name="connsiteX28" fmla="*/ 0 w 5461359"/>
              <a:gd name="connsiteY28" fmla="*/ 840726 h 3880276"/>
              <a:gd name="connsiteX29" fmla="*/ 0 w 5461359"/>
              <a:gd name="connsiteY29" fmla="*/ 0 h 388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Rectangle 2">
            <a:extLst>
              <a:ext uri="{FF2B5EF4-FFF2-40B4-BE49-F238E27FC236}">
                <a16:creationId xmlns:a16="http://schemas.microsoft.com/office/drawing/2014/main" id="{2A0F1FCB-B136-CA63-B6F5-3156C345DA63}"/>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 standarden, kan I blandt andet læse om hver indikator, hvor I finder info om værdien og relevansen for den pågældende indikator. Indsæt en indikator samt beskrivende tekst om, hvad data viser, hvad årsagen til udviklingen er, hvad jeres forventninger er til fremtidig udvikling, hvilke konkrete handlinger der er taget/tages på baggrund af indsigten i data mm.</a:t>
            </a:r>
          </a:p>
        </p:txBody>
      </p:sp>
      <p:sp>
        <p:nvSpPr>
          <p:cNvPr id="7" name="Rectangle: Rounded Corners 3">
            <a:extLst>
              <a:ext uri="{FF2B5EF4-FFF2-40B4-BE49-F238E27FC236}">
                <a16:creationId xmlns:a16="http://schemas.microsoft.com/office/drawing/2014/main" id="{3E77CA17-2C55-7AEC-77EE-1742D6E8F39B}"/>
              </a:ext>
            </a:extLst>
          </p:cNvPr>
          <p:cNvSpPr/>
          <p:nvPr/>
        </p:nvSpPr>
        <p:spPr>
          <a:xfrm>
            <a:off x="6514471" y="2754837"/>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dashboard]</a:t>
            </a:r>
          </a:p>
        </p:txBody>
      </p:sp>
      <p:sp>
        <p:nvSpPr>
          <p:cNvPr id="10" name="Rectangle: Rounded Corners 3">
            <a:extLst>
              <a:ext uri="{FF2B5EF4-FFF2-40B4-BE49-F238E27FC236}">
                <a16:creationId xmlns:a16="http://schemas.microsoft.com/office/drawing/2014/main" id="{E41D63F9-5856-38D2-90B8-218633CF8D6E}"/>
              </a:ext>
            </a:extLst>
          </p:cNvPr>
          <p:cNvSpPr/>
          <p:nvPr/>
        </p:nvSpPr>
        <p:spPr>
          <a:xfrm>
            <a:off x="778200" y="2754837"/>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a:t>
            </a:r>
            <a:r>
              <a:rPr lang="da-DK" sz="1200" err="1">
                <a:solidFill>
                  <a:srgbClr val="005850"/>
                </a:solidFill>
                <a:latin typeface="Verdana" panose="020B0604030504040204" pitchFamily="34" charset="0"/>
                <a:ea typeface="Verdana" panose="020B0604030504040204" pitchFamily="34" charset="0"/>
              </a:rPr>
              <a:t>dashboard</a:t>
            </a:r>
            <a:r>
              <a:rPr lang="da-DK" sz="1200">
                <a:solidFill>
                  <a:srgbClr val="005850"/>
                </a:solidFill>
                <a:latin typeface="Verdana" panose="020B0604030504040204" pitchFamily="34" charset="0"/>
                <a:ea typeface="Verdana" panose="020B0604030504040204" pitchFamily="34" charset="0"/>
              </a:rPr>
              <a:t>]</a:t>
            </a:r>
          </a:p>
        </p:txBody>
      </p:sp>
    </p:spTree>
    <p:extLst>
      <p:ext uri="{BB962C8B-B14F-4D97-AF65-F5344CB8AC3E}">
        <p14:creationId xmlns:p14="http://schemas.microsoft.com/office/powerpoint/2010/main" val="26503276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D1C94-5CBF-A5A9-ADB9-69BD1E0C94F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3AFFFE2-88C9-3935-D4E1-0B11C7ADE0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63AFFFE2-88C9-3935-D4E1-0B11C7ADE0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199BC476-7EED-8FEE-B02C-06C429E74BE0}"/>
              </a:ext>
            </a:extLst>
          </p:cNvPr>
          <p:cNvSpPr>
            <a:spLocks noGrp="1"/>
          </p:cNvSpPr>
          <p:nvPr>
            <p:ph type="sldNum" sz="quarter" idx="12"/>
          </p:nvPr>
        </p:nvSpPr>
        <p:spPr/>
        <p:txBody>
          <a:bodyPr/>
          <a:lstStyle/>
          <a:p>
            <a:fld id="{D1CF6110-3358-3240-B3E6-2B2529506D05}" type="slidenum">
              <a:rPr lang="da-DK" smtClean="0"/>
              <a:t>21</a:t>
            </a:fld>
            <a:endParaRPr lang="da-DK"/>
          </a:p>
        </p:txBody>
      </p:sp>
      <p:sp>
        <p:nvSpPr>
          <p:cNvPr id="14" name="Title 1">
            <a:extLst>
              <a:ext uri="{FF2B5EF4-FFF2-40B4-BE49-F238E27FC236}">
                <a16:creationId xmlns:a16="http://schemas.microsoft.com/office/drawing/2014/main" id="{C73A0A57-8F30-991F-6B54-502A67740AE1}"/>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2]</a:t>
            </a:r>
            <a:endParaRPr lang="da-DK" sz="4000" dirty="0">
              <a:solidFill>
                <a:srgbClr val="005850"/>
              </a:solidFill>
              <a:latin typeface="Verdana" panose="020B0604030504040204" pitchFamily="34" charset="0"/>
              <a:ea typeface="Verdana" panose="020B0604030504040204" pitchFamily="34" charset="0"/>
            </a:endParaRPr>
          </a:p>
        </p:txBody>
      </p:sp>
      <p:pic>
        <p:nvPicPr>
          <p:cNvPr id="2" name="Picture 1" descr="A pink circle with a white letter&#10;&#10;AI-generated content may be incorrect.">
            <a:extLst>
              <a:ext uri="{FF2B5EF4-FFF2-40B4-BE49-F238E27FC236}">
                <a16:creationId xmlns:a16="http://schemas.microsoft.com/office/drawing/2014/main" id="{FA9C0702-11EB-EACB-1B3F-68A650519A85}"/>
              </a:ext>
            </a:extLst>
          </p:cNvPr>
          <p:cNvPicPr>
            <a:picLocks noChangeAspect="1"/>
          </p:cNvPicPr>
          <p:nvPr/>
        </p:nvPicPr>
        <p:blipFill>
          <a:blip r:embed="rId5">
            <a:alphaModFix/>
          </a:blip>
          <a:stretch>
            <a:fillRect/>
          </a:stretch>
        </p:blipFill>
        <p:spPr>
          <a:xfrm>
            <a:off x="11094393" y="89320"/>
            <a:ext cx="600421" cy="661481"/>
          </a:xfrm>
          <a:prstGeom prst="rect">
            <a:avLst/>
          </a:prstGeom>
        </p:spPr>
      </p:pic>
      <p:sp>
        <p:nvSpPr>
          <p:cNvPr id="29" name="Rectangle: Rounded Corners 28">
            <a:extLst>
              <a:ext uri="{FF2B5EF4-FFF2-40B4-BE49-F238E27FC236}">
                <a16:creationId xmlns:a16="http://schemas.microsoft.com/office/drawing/2014/main" id="{954D8AFD-C2AE-6EC9-7159-410A598BC0E8}"/>
              </a:ext>
            </a:extLst>
          </p:cNvPr>
          <p:cNvSpPr/>
          <p:nvPr/>
        </p:nvSpPr>
        <p:spPr>
          <a:xfrm>
            <a:off x="6233458" y="2383719"/>
            <a:ext cx="5461353" cy="3950473"/>
          </a:xfrm>
          <a:custGeom>
            <a:avLst/>
            <a:gdLst>
              <a:gd name="connsiteX0" fmla="*/ 0 w 5461353"/>
              <a:gd name="connsiteY0" fmla="*/ 0 h 3950473"/>
              <a:gd name="connsiteX1" fmla="*/ 0 w 5461353"/>
              <a:gd name="connsiteY1" fmla="*/ 0 h 3950473"/>
              <a:gd name="connsiteX2" fmla="*/ 791896 w 5461353"/>
              <a:gd name="connsiteY2" fmla="*/ 0 h 3950473"/>
              <a:gd name="connsiteX3" fmla="*/ 1419952 w 5461353"/>
              <a:gd name="connsiteY3" fmla="*/ 0 h 3950473"/>
              <a:gd name="connsiteX4" fmla="*/ 1993394 w 5461353"/>
              <a:gd name="connsiteY4" fmla="*/ 0 h 3950473"/>
              <a:gd name="connsiteX5" fmla="*/ 2512222 w 5461353"/>
              <a:gd name="connsiteY5" fmla="*/ 0 h 3950473"/>
              <a:gd name="connsiteX6" fmla="*/ 3194892 w 5461353"/>
              <a:gd name="connsiteY6" fmla="*/ 0 h 3950473"/>
              <a:gd name="connsiteX7" fmla="*/ 3768334 w 5461353"/>
              <a:gd name="connsiteY7" fmla="*/ 0 h 3950473"/>
              <a:gd name="connsiteX8" fmla="*/ 4505616 w 5461353"/>
              <a:gd name="connsiteY8" fmla="*/ 0 h 3950473"/>
              <a:gd name="connsiteX9" fmla="*/ 5461353 w 5461353"/>
              <a:gd name="connsiteY9" fmla="*/ 0 h 3950473"/>
              <a:gd name="connsiteX10" fmla="*/ 5461353 w 5461353"/>
              <a:gd name="connsiteY10" fmla="*/ 0 h 3950473"/>
              <a:gd name="connsiteX11" fmla="*/ 5461353 w 5461353"/>
              <a:gd name="connsiteY11" fmla="*/ 539898 h 3950473"/>
              <a:gd name="connsiteX12" fmla="*/ 5461353 w 5461353"/>
              <a:gd name="connsiteY12" fmla="*/ 1198310 h 3950473"/>
              <a:gd name="connsiteX13" fmla="*/ 5461353 w 5461353"/>
              <a:gd name="connsiteY13" fmla="*/ 1777713 h 3950473"/>
              <a:gd name="connsiteX14" fmla="*/ 5461353 w 5461353"/>
              <a:gd name="connsiteY14" fmla="*/ 2436125 h 3950473"/>
              <a:gd name="connsiteX15" fmla="*/ 5461353 w 5461353"/>
              <a:gd name="connsiteY15" fmla="*/ 2976023 h 3950473"/>
              <a:gd name="connsiteX16" fmla="*/ 5461353 w 5461353"/>
              <a:gd name="connsiteY16" fmla="*/ 3950473 h 3950473"/>
              <a:gd name="connsiteX17" fmla="*/ 5461353 w 5461353"/>
              <a:gd name="connsiteY17" fmla="*/ 3950473 h 3950473"/>
              <a:gd name="connsiteX18" fmla="*/ 4887911 w 5461353"/>
              <a:gd name="connsiteY18" fmla="*/ 3950473 h 3950473"/>
              <a:gd name="connsiteX19" fmla="*/ 4205242 w 5461353"/>
              <a:gd name="connsiteY19" fmla="*/ 3950473 h 3950473"/>
              <a:gd name="connsiteX20" fmla="*/ 3577186 w 5461353"/>
              <a:gd name="connsiteY20" fmla="*/ 3950473 h 3950473"/>
              <a:gd name="connsiteX21" fmla="*/ 3058358 w 5461353"/>
              <a:gd name="connsiteY21" fmla="*/ 3950473 h 3950473"/>
              <a:gd name="connsiteX22" fmla="*/ 2430302 w 5461353"/>
              <a:gd name="connsiteY22" fmla="*/ 3950473 h 3950473"/>
              <a:gd name="connsiteX23" fmla="*/ 1693019 w 5461353"/>
              <a:gd name="connsiteY23" fmla="*/ 3950473 h 3950473"/>
              <a:gd name="connsiteX24" fmla="*/ 1010350 w 5461353"/>
              <a:gd name="connsiteY24" fmla="*/ 3950473 h 3950473"/>
              <a:gd name="connsiteX25" fmla="*/ 0 w 5461353"/>
              <a:gd name="connsiteY25" fmla="*/ 3950473 h 3950473"/>
              <a:gd name="connsiteX26" fmla="*/ 0 w 5461353"/>
              <a:gd name="connsiteY26" fmla="*/ 3950473 h 3950473"/>
              <a:gd name="connsiteX27" fmla="*/ 0 w 5461353"/>
              <a:gd name="connsiteY27" fmla="*/ 3410575 h 3950473"/>
              <a:gd name="connsiteX28" fmla="*/ 0 w 5461353"/>
              <a:gd name="connsiteY28" fmla="*/ 2831172 h 3950473"/>
              <a:gd name="connsiteX29" fmla="*/ 0 w 5461353"/>
              <a:gd name="connsiteY29" fmla="*/ 2133255 h 3950473"/>
              <a:gd name="connsiteX30" fmla="*/ 0 w 5461353"/>
              <a:gd name="connsiteY30" fmla="*/ 1593357 h 3950473"/>
              <a:gd name="connsiteX31" fmla="*/ 0 w 5461353"/>
              <a:gd name="connsiteY31" fmla="*/ 974450 h 3950473"/>
              <a:gd name="connsiteX32" fmla="*/ 0 w 5461353"/>
              <a:gd name="connsiteY32" fmla="*/ 0 h 395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9504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9527" y="177665"/>
                  <a:pt x="5444040" y="293541"/>
                  <a:pt x="5461353" y="539898"/>
                </a:cubicBezTo>
                <a:cubicBezTo>
                  <a:pt x="5478666" y="786255"/>
                  <a:pt x="5455986" y="960120"/>
                  <a:pt x="5461353" y="1198310"/>
                </a:cubicBezTo>
                <a:cubicBezTo>
                  <a:pt x="5466720" y="1436500"/>
                  <a:pt x="5451441" y="1541728"/>
                  <a:pt x="5461353" y="1777713"/>
                </a:cubicBezTo>
                <a:cubicBezTo>
                  <a:pt x="5471265" y="2013698"/>
                  <a:pt x="5491270" y="2279903"/>
                  <a:pt x="5461353" y="2436125"/>
                </a:cubicBezTo>
                <a:cubicBezTo>
                  <a:pt x="5431436" y="2592347"/>
                  <a:pt x="5471012" y="2753752"/>
                  <a:pt x="5461353" y="2976023"/>
                </a:cubicBezTo>
                <a:cubicBezTo>
                  <a:pt x="5451694" y="3198294"/>
                  <a:pt x="5462085" y="3524155"/>
                  <a:pt x="5461353" y="3950473"/>
                </a:cubicBezTo>
                <a:lnTo>
                  <a:pt x="5461353" y="3950473"/>
                </a:lnTo>
                <a:cubicBezTo>
                  <a:pt x="5238880" y="3941886"/>
                  <a:pt x="5041401" y="3922034"/>
                  <a:pt x="4887911" y="3950473"/>
                </a:cubicBezTo>
                <a:cubicBezTo>
                  <a:pt x="4734421" y="3978912"/>
                  <a:pt x="4500958" y="3980049"/>
                  <a:pt x="4205242" y="3950473"/>
                </a:cubicBezTo>
                <a:cubicBezTo>
                  <a:pt x="3909526" y="3920897"/>
                  <a:pt x="3729356" y="3936832"/>
                  <a:pt x="3577186" y="3950473"/>
                </a:cubicBezTo>
                <a:cubicBezTo>
                  <a:pt x="3425016" y="3964114"/>
                  <a:pt x="3205077" y="3947454"/>
                  <a:pt x="3058358" y="3950473"/>
                </a:cubicBezTo>
                <a:cubicBezTo>
                  <a:pt x="2911639" y="3953492"/>
                  <a:pt x="2676384" y="3977185"/>
                  <a:pt x="2430302" y="3950473"/>
                </a:cubicBezTo>
                <a:cubicBezTo>
                  <a:pt x="2184220" y="3923761"/>
                  <a:pt x="1945052" y="3967397"/>
                  <a:pt x="1693019" y="3950473"/>
                </a:cubicBezTo>
                <a:cubicBezTo>
                  <a:pt x="1440986" y="3933549"/>
                  <a:pt x="1150111" y="3974327"/>
                  <a:pt x="1010350" y="3950473"/>
                </a:cubicBezTo>
                <a:cubicBezTo>
                  <a:pt x="870589" y="3926619"/>
                  <a:pt x="409237" y="3951722"/>
                  <a:pt x="0" y="3950473"/>
                </a:cubicBezTo>
                <a:lnTo>
                  <a:pt x="0" y="3950473"/>
                </a:lnTo>
                <a:cubicBezTo>
                  <a:pt x="22762" y="3772511"/>
                  <a:pt x="4987" y="3589156"/>
                  <a:pt x="0" y="3410575"/>
                </a:cubicBezTo>
                <a:cubicBezTo>
                  <a:pt x="-4987" y="3231994"/>
                  <a:pt x="6364" y="2994919"/>
                  <a:pt x="0" y="2831172"/>
                </a:cubicBezTo>
                <a:cubicBezTo>
                  <a:pt x="-6364" y="2667425"/>
                  <a:pt x="24556" y="2358056"/>
                  <a:pt x="0" y="2133255"/>
                </a:cubicBezTo>
                <a:cubicBezTo>
                  <a:pt x="-24556" y="1908454"/>
                  <a:pt x="-25159" y="1802817"/>
                  <a:pt x="0" y="1593357"/>
                </a:cubicBezTo>
                <a:cubicBezTo>
                  <a:pt x="25159" y="1383897"/>
                  <a:pt x="1646" y="1136676"/>
                  <a:pt x="0" y="974450"/>
                </a:cubicBezTo>
                <a:cubicBezTo>
                  <a:pt x="-1646" y="812224"/>
                  <a:pt x="-1921" y="418952"/>
                  <a:pt x="0" y="0"/>
                </a:cubicBezTo>
                <a:close/>
              </a:path>
              <a:path w="5461353" h="39504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41380" y="284240"/>
                  <a:pt x="5447070" y="417194"/>
                  <a:pt x="5461353" y="618907"/>
                </a:cubicBezTo>
                <a:cubicBezTo>
                  <a:pt x="5475636" y="820620"/>
                  <a:pt x="5456542" y="1011010"/>
                  <a:pt x="5461353" y="1356329"/>
                </a:cubicBezTo>
                <a:cubicBezTo>
                  <a:pt x="5466164" y="1701648"/>
                  <a:pt x="5481360" y="1664967"/>
                  <a:pt x="5461353" y="1935732"/>
                </a:cubicBezTo>
                <a:cubicBezTo>
                  <a:pt x="5441346" y="2206497"/>
                  <a:pt x="5464288" y="2303722"/>
                  <a:pt x="5461353" y="2594144"/>
                </a:cubicBezTo>
                <a:cubicBezTo>
                  <a:pt x="5458418" y="2884566"/>
                  <a:pt x="5453664" y="3003238"/>
                  <a:pt x="5461353" y="3134042"/>
                </a:cubicBezTo>
                <a:cubicBezTo>
                  <a:pt x="5469042" y="3264846"/>
                  <a:pt x="5496280" y="3585137"/>
                  <a:pt x="5461353" y="3950473"/>
                </a:cubicBezTo>
                <a:lnTo>
                  <a:pt x="5461353" y="3950473"/>
                </a:lnTo>
                <a:cubicBezTo>
                  <a:pt x="5229711" y="3929721"/>
                  <a:pt x="5055871" y="3957823"/>
                  <a:pt x="4887911" y="3950473"/>
                </a:cubicBezTo>
                <a:cubicBezTo>
                  <a:pt x="4719951" y="3943123"/>
                  <a:pt x="4440828" y="3977647"/>
                  <a:pt x="4259855" y="3950473"/>
                </a:cubicBezTo>
                <a:cubicBezTo>
                  <a:pt x="4078882" y="3923299"/>
                  <a:pt x="3931066" y="3923101"/>
                  <a:pt x="3686413" y="3950473"/>
                </a:cubicBezTo>
                <a:cubicBezTo>
                  <a:pt x="3441760" y="3977845"/>
                  <a:pt x="3372027" y="3920701"/>
                  <a:pt x="3058358" y="3950473"/>
                </a:cubicBezTo>
                <a:cubicBezTo>
                  <a:pt x="2744689" y="3980245"/>
                  <a:pt x="2531520" y="3922143"/>
                  <a:pt x="2375689" y="3950473"/>
                </a:cubicBezTo>
                <a:cubicBezTo>
                  <a:pt x="2219858" y="3978803"/>
                  <a:pt x="1841665" y="3947327"/>
                  <a:pt x="1693019" y="3950473"/>
                </a:cubicBezTo>
                <a:cubicBezTo>
                  <a:pt x="1544373" y="3953620"/>
                  <a:pt x="1298560" y="3965289"/>
                  <a:pt x="1064964" y="3950473"/>
                </a:cubicBezTo>
                <a:cubicBezTo>
                  <a:pt x="831368" y="3935657"/>
                  <a:pt x="328842" y="3917552"/>
                  <a:pt x="0" y="3950473"/>
                </a:cubicBezTo>
                <a:lnTo>
                  <a:pt x="0" y="3950473"/>
                </a:lnTo>
                <a:cubicBezTo>
                  <a:pt x="-8174" y="3625461"/>
                  <a:pt x="-26611" y="3410639"/>
                  <a:pt x="0" y="3252556"/>
                </a:cubicBezTo>
                <a:cubicBezTo>
                  <a:pt x="26611" y="3094473"/>
                  <a:pt x="8232" y="2770079"/>
                  <a:pt x="0" y="2633649"/>
                </a:cubicBezTo>
                <a:cubicBezTo>
                  <a:pt x="-8232" y="2497219"/>
                  <a:pt x="32161" y="2287419"/>
                  <a:pt x="0" y="1975237"/>
                </a:cubicBezTo>
                <a:cubicBezTo>
                  <a:pt x="-32161" y="1663055"/>
                  <a:pt x="-4025" y="1627455"/>
                  <a:pt x="0" y="1435339"/>
                </a:cubicBezTo>
                <a:cubicBezTo>
                  <a:pt x="4025" y="1243223"/>
                  <a:pt x="-22847" y="930906"/>
                  <a:pt x="0" y="776926"/>
                </a:cubicBezTo>
                <a:cubicBezTo>
                  <a:pt x="22847" y="622946"/>
                  <a:pt x="24321" y="342891"/>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44A085AB-877B-29FC-DD45-E2BBFE8F22CA}"/>
              </a:ext>
            </a:extLst>
          </p:cNvPr>
          <p:cNvSpPr/>
          <p:nvPr/>
        </p:nvSpPr>
        <p:spPr>
          <a:xfrm>
            <a:off x="6233455" y="2458817"/>
            <a:ext cx="5461359" cy="3880277"/>
          </a:xfrm>
          <a:custGeom>
            <a:avLst/>
            <a:gdLst>
              <a:gd name="connsiteX0" fmla="*/ 0 w 5461359"/>
              <a:gd name="connsiteY0" fmla="*/ 0 h 3880277"/>
              <a:gd name="connsiteX1" fmla="*/ 737283 w 5461359"/>
              <a:gd name="connsiteY1" fmla="*/ 0 h 3880277"/>
              <a:gd name="connsiteX2" fmla="*/ 1310726 w 5461359"/>
              <a:gd name="connsiteY2" fmla="*/ 0 h 3880277"/>
              <a:gd name="connsiteX3" fmla="*/ 2048010 w 5461359"/>
              <a:gd name="connsiteY3" fmla="*/ 0 h 3880277"/>
              <a:gd name="connsiteX4" fmla="*/ 2566839 w 5461359"/>
              <a:gd name="connsiteY4" fmla="*/ 0 h 3880277"/>
              <a:gd name="connsiteX5" fmla="*/ 3140281 w 5461359"/>
              <a:gd name="connsiteY5" fmla="*/ 0 h 3880277"/>
              <a:gd name="connsiteX6" fmla="*/ 3822951 w 5461359"/>
              <a:gd name="connsiteY6" fmla="*/ 0 h 3880277"/>
              <a:gd name="connsiteX7" fmla="*/ 4560235 w 5461359"/>
              <a:gd name="connsiteY7" fmla="*/ 0 h 3880277"/>
              <a:gd name="connsiteX8" fmla="*/ 5461359 w 5461359"/>
              <a:gd name="connsiteY8" fmla="*/ 0 h 3880277"/>
              <a:gd name="connsiteX9" fmla="*/ 5461359 w 5461359"/>
              <a:gd name="connsiteY9" fmla="*/ 607910 h 3880277"/>
              <a:gd name="connsiteX10" fmla="*/ 5461359 w 5461359"/>
              <a:gd name="connsiteY10" fmla="*/ 1138215 h 3880277"/>
              <a:gd name="connsiteX11" fmla="*/ 5461359 w 5461359"/>
              <a:gd name="connsiteY11" fmla="*/ 1746125 h 3880277"/>
              <a:gd name="connsiteX12" fmla="*/ 5461359 w 5461359"/>
              <a:gd name="connsiteY12" fmla="*/ 2354035 h 3880277"/>
              <a:gd name="connsiteX13" fmla="*/ 5461359 w 5461359"/>
              <a:gd name="connsiteY13" fmla="*/ 3039550 h 3880277"/>
              <a:gd name="connsiteX14" fmla="*/ 5461359 w 5461359"/>
              <a:gd name="connsiteY14" fmla="*/ 3880277 h 3880277"/>
              <a:gd name="connsiteX15" fmla="*/ 4833303 w 5461359"/>
              <a:gd name="connsiteY15" fmla="*/ 3880277 h 3880277"/>
              <a:gd name="connsiteX16" fmla="*/ 4205246 w 5461359"/>
              <a:gd name="connsiteY16" fmla="*/ 3880277 h 3880277"/>
              <a:gd name="connsiteX17" fmla="*/ 3686417 w 5461359"/>
              <a:gd name="connsiteY17" fmla="*/ 3880277 h 3880277"/>
              <a:gd name="connsiteX18" fmla="*/ 2949134 w 5461359"/>
              <a:gd name="connsiteY18" fmla="*/ 3880277 h 3880277"/>
              <a:gd name="connsiteX19" fmla="*/ 2430305 w 5461359"/>
              <a:gd name="connsiteY19" fmla="*/ 3880277 h 3880277"/>
              <a:gd name="connsiteX20" fmla="*/ 1911476 w 5461359"/>
              <a:gd name="connsiteY20" fmla="*/ 3880277 h 3880277"/>
              <a:gd name="connsiteX21" fmla="*/ 1338033 w 5461359"/>
              <a:gd name="connsiteY21" fmla="*/ 3880277 h 3880277"/>
              <a:gd name="connsiteX22" fmla="*/ 600749 w 5461359"/>
              <a:gd name="connsiteY22" fmla="*/ 3880277 h 3880277"/>
              <a:gd name="connsiteX23" fmla="*/ 0 w 5461359"/>
              <a:gd name="connsiteY23" fmla="*/ 3880277 h 3880277"/>
              <a:gd name="connsiteX24" fmla="*/ 0 w 5461359"/>
              <a:gd name="connsiteY24" fmla="*/ 3311170 h 3880277"/>
              <a:gd name="connsiteX25" fmla="*/ 0 w 5461359"/>
              <a:gd name="connsiteY25" fmla="*/ 2664457 h 3880277"/>
              <a:gd name="connsiteX26" fmla="*/ 0 w 5461359"/>
              <a:gd name="connsiteY26" fmla="*/ 2095350 h 3880277"/>
              <a:gd name="connsiteX27" fmla="*/ 0 w 5461359"/>
              <a:gd name="connsiteY27" fmla="*/ 1409834 h 3880277"/>
              <a:gd name="connsiteX28" fmla="*/ 0 w 5461359"/>
              <a:gd name="connsiteY28" fmla="*/ 840727 h 3880277"/>
              <a:gd name="connsiteX29" fmla="*/ 0 w 5461359"/>
              <a:gd name="connsiteY29" fmla="*/ 0 h 388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9" h="3880277"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9470" y="929243"/>
                  <a:pt x="5461359" y="1138215"/>
                </a:cubicBezTo>
                <a:cubicBezTo>
                  <a:pt x="5483248" y="1347188"/>
                  <a:pt x="5455528" y="1465241"/>
                  <a:pt x="5461359" y="1746125"/>
                </a:cubicBezTo>
                <a:cubicBezTo>
                  <a:pt x="5467191" y="2027009"/>
                  <a:pt x="5464505" y="2058593"/>
                  <a:pt x="5461359" y="2354035"/>
                </a:cubicBezTo>
                <a:cubicBezTo>
                  <a:pt x="5458214" y="2649477"/>
                  <a:pt x="5454955" y="2729372"/>
                  <a:pt x="5461359" y="3039550"/>
                </a:cubicBezTo>
                <a:cubicBezTo>
                  <a:pt x="5467763" y="3349729"/>
                  <a:pt x="5496583" y="3466685"/>
                  <a:pt x="5461359" y="3880277"/>
                </a:cubicBezTo>
                <a:cubicBezTo>
                  <a:pt x="5311886" y="3877125"/>
                  <a:pt x="5143050" y="3870877"/>
                  <a:pt x="4833303" y="3880277"/>
                </a:cubicBezTo>
                <a:cubicBezTo>
                  <a:pt x="4523556" y="3889677"/>
                  <a:pt x="4417068" y="3849235"/>
                  <a:pt x="4205246" y="3880277"/>
                </a:cubicBezTo>
                <a:cubicBezTo>
                  <a:pt x="3993424" y="3911319"/>
                  <a:pt x="3880589" y="3864540"/>
                  <a:pt x="3686417" y="3880277"/>
                </a:cubicBezTo>
                <a:cubicBezTo>
                  <a:pt x="3492245" y="3896014"/>
                  <a:pt x="3175419" y="3869679"/>
                  <a:pt x="2949134" y="3880277"/>
                </a:cubicBezTo>
                <a:cubicBezTo>
                  <a:pt x="2722849" y="3890875"/>
                  <a:pt x="2590123" y="3860811"/>
                  <a:pt x="2430305" y="3880277"/>
                </a:cubicBezTo>
                <a:cubicBezTo>
                  <a:pt x="2270487" y="3899743"/>
                  <a:pt x="2117864" y="3901590"/>
                  <a:pt x="1911476" y="3880277"/>
                </a:cubicBezTo>
                <a:cubicBezTo>
                  <a:pt x="1705088" y="3858964"/>
                  <a:pt x="1458050" y="3906157"/>
                  <a:pt x="1338033" y="3880277"/>
                </a:cubicBezTo>
                <a:cubicBezTo>
                  <a:pt x="1218016" y="3854397"/>
                  <a:pt x="809455" y="3910304"/>
                  <a:pt x="600749" y="3880277"/>
                </a:cubicBezTo>
                <a:cubicBezTo>
                  <a:pt x="392043" y="3850250"/>
                  <a:pt x="192494" y="3906157"/>
                  <a:pt x="0" y="3880277"/>
                </a:cubicBezTo>
                <a:cubicBezTo>
                  <a:pt x="-12608" y="3680374"/>
                  <a:pt x="-23297" y="3548028"/>
                  <a:pt x="0" y="3311170"/>
                </a:cubicBezTo>
                <a:cubicBezTo>
                  <a:pt x="23297" y="3074312"/>
                  <a:pt x="26460" y="2892221"/>
                  <a:pt x="0" y="2664457"/>
                </a:cubicBezTo>
                <a:cubicBezTo>
                  <a:pt x="-26460" y="2436693"/>
                  <a:pt x="-431" y="2313349"/>
                  <a:pt x="0" y="2095350"/>
                </a:cubicBezTo>
                <a:cubicBezTo>
                  <a:pt x="431" y="1877351"/>
                  <a:pt x="3083" y="1620604"/>
                  <a:pt x="0" y="1409834"/>
                </a:cubicBezTo>
                <a:cubicBezTo>
                  <a:pt x="-3083" y="1199064"/>
                  <a:pt x="-27005" y="981378"/>
                  <a:pt x="0" y="840727"/>
                </a:cubicBezTo>
                <a:cubicBezTo>
                  <a:pt x="27005" y="700076"/>
                  <a:pt x="18149" y="364990"/>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Rounded Corners 25">
            <a:extLst>
              <a:ext uri="{FF2B5EF4-FFF2-40B4-BE49-F238E27FC236}">
                <a16:creationId xmlns:a16="http://schemas.microsoft.com/office/drawing/2014/main" id="{8A84CAD7-0556-534E-F508-9011FB425D2C}"/>
              </a:ext>
            </a:extLst>
          </p:cNvPr>
          <p:cNvSpPr/>
          <p:nvPr/>
        </p:nvSpPr>
        <p:spPr>
          <a:xfrm>
            <a:off x="497187" y="2388915"/>
            <a:ext cx="5461353" cy="3945278"/>
          </a:xfrm>
          <a:custGeom>
            <a:avLst/>
            <a:gdLst>
              <a:gd name="connsiteX0" fmla="*/ 0 w 5461353"/>
              <a:gd name="connsiteY0" fmla="*/ 0 h 3945278"/>
              <a:gd name="connsiteX1" fmla="*/ 0 w 5461353"/>
              <a:gd name="connsiteY1" fmla="*/ 0 h 3945278"/>
              <a:gd name="connsiteX2" fmla="*/ 791896 w 5461353"/>
              <a:gd name="connsiteY2" fmla="*/ 0 h 3945278"/>
              <a:gd name="connsiteX3" fmla="*/ 1419952 w 5461353"/>
              <a:gd name="connsiteY3" fmla="*/ 0 h 3945278"/>
              <a:gd name="connsiteX4" fmla="*/ 1993394 w 5461353"/>
              <a:gd name="connsiteY4" fmla="*/ 0 h 3945278"/>
              <a:gd name="connsiteX5" fmla="*/ 2512222 w 5461353"/>
              <a:gd name="connsiteY5" fmla="*/ 0 h 3945278"/>
              <a:gd name="connsiteX6" fmla="*/ 3194892 w 5461353"/>
              <a:gd name="connsiteY6" fmla="*/ 0 h 3945278"/>
              <a:gd name="connsiteX7" fmla="*/ 3768334 w 5461353"/>
              <a:gd name="connsiteY7" fmla="*/ 0 h 3945278"/>
              <a:gd name="connsiteX8" fmla="*/ 4505616 w 5461353"/>
              <a:gd name="connsiteY8" fmla="*/ 0 h 3945278"/>
              <a:gd name="connsiteX9" fmla="*/ 5461353 w 5461353"/>
              <a:gd name="connsiteY9" fmla="*/ 0 h 3945278"/>
              <a:gd name="connsiteX10" fmla="*/ 5461353 w 5461353"/>
              <a:gd name="connsiteY10" fmla="*/ 0 h 3945278"/>
              <a:gd name="connsiteX11" fmla="*/ 5461353 w 5461353"/>
              <a:gd name="connsiteY11" fmla="*/ 539188 h 3945278"/>
              <a:gd name="connsiteX12" fmla="*/ 5461353 w 5461353"/>
              <a:gd name="connsiteY12" fmla="*/ 1196734 h 3945278"/>
              <a:gd name="connsiteX13" fmla="*/ 5461353 w 5461353"/>
              <a:gd name="connsiteY13" fmla="*/ 1775375 h 3945278"/>
              <a:gd name="connsiteX14" fmla="*/ 5461353 w 5461353"/>
              <a:gd name="connsiteY14" fmla="*/ 2432921 h 3945278"/>
              <a:gd name="connsiteX15" fmla="*/ 5461353 w 5461353"/>
              <a:gd name="connsiteY15" fmla="*/ 2972109 h 3945278"/>
              <a:gd name="connsiteX16" fmla="*/ 5461353 w 5461353"/>
              <a:gd name="connsiteY16" fmla="*/ 3945278 h 3945278"/>
              <a:gd name="connsiteX17" fmla="*/ 5461353 w 5461353"/>
              <a:gd name="connsiteY17" fmla="*/ 3945278 h 3945278"/>
              <a:gd name="connsiteX18" fmla="*/ 4887911 w 5461353"/>
              <a:gd name="connsiteY18" fmla="*/ 3945278 h 3945278"/>
              <a:gd name="connsiteX19" fmla="*/ 4205242 w 5461353"/>
              <a:gd name="connsiteY19" fmla="*/ 3945278 h 3945278"/>
              <a:gd name="connsiteX20" fmla="*/ 3577186 w 5461353"/>
              <a:gd name="connsiteY20" fmla="*/ 3945278 h 3945278"/>
              <a:gd name="connsiteX21" fmla="*/ 3058358 w 5461353"/>
              <a:gd name="connsiteY21" fmla="*/ 3945278 h 3945278"/>
              <a:gd name="connsiteX22" fmla="*/ 2430302 w 5461353"/>
              <a:gd name="connsiteY22" fmla="*/ 3945278 h 3945278"/>
              <a:gd name="connsiteX23" fmla="*/ 1693019 w 5461353"/>
              <a:gd name="connsiteY23" fmla="*/ 3945278 h 3945278"/>
              <a:gd name="connsiteX24" fmla="*/ 1010350 w 5461353"/>
              <a:gd name="connsiteY24" fmla="*/ 3945278 h 3945278"/>
              <a:gd name="connsiteX25" fmla="*/ 0 w 5461353"/>
              <a:gd name="connsiteY25" fmla="*/ 3945278 h 3945278"/>
              <a:gd name="connsiteX26" fmla="*/ 0 w 5461353"/>
              <a:gd name="connsiteY26" fmla="*/ 3945278 h 3945278"/>
              <a:gd name="connsiteX27" fmla="*/ 0 w 5461353"/>
              <a:gd name="connsiteY27" fmla="*/ 3406090 h 3945278"/>
              <a:gd name="connsiteX28" fmla="*/ 0 w 5461353"/>
              <a:gd name="connsiteY28" fmla="*/ 2827449 h 3945278"/>
              <a:gd name="connsiteX29" fmla="*/ 0 w 5461353"/>
              <a:gd name="connsiteY29" fmla="*/ 2130450 h 3945278"/>
              <a:gd name="connsiteX30" fmla="*/ 0 w 5461353"/>
              <a:gd name="connsiteY30" fmla="*/ 1591262 h 3945278"/>
              <a:gd name="connsiteX31" fmla="*/ 0 w 5461353"/>
              <a:gd name="connsiteY31" fmla="*/ 973169 h 3945278"/>
              <a:gd name="connsiteX32" fmla="*/ 0 w 5461353"/>
              <a:gd name="connsiteY32" fmla="*/ 0 h 394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945278"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77359" y="239067"/>
                  <a:pt x="5442113" y="372834"/>
                  <a:pt x="5461353" y="539188"/>
                </a:cubicBezTo>
                <a:cubicBezTo>
                  <a:pt x="5480593" y="705542"/>
                  <a:pt x="5464434" y="984860"/>
                  <a:pt x="5461353" y="1196734"/>
                </a:cubicBezTo>
                <a:cubicBezTo>
                  <a:pt x="5458272" y="1408608"/>
                  <a:pt x="5439957" y="1549714"/>
                  <a:pt x="5461353" y="1775375"/>
                </a:cubicBezTo>
                <a:cubicBezTo>
                  <a:pt x="5482749" y="2001036"/>
                  <a:pt x="5452377" y="2125116"/>
                  <a:pt x="5461353" y="2432921"/>
                </a:cubicBezTo>
                <a:cubicBezTo>
                  <a:pt x="5470329" y="2740726"/>
                  <a:pt x="5436163" y="2740936"/>
                  <a:pt x="5461353" y="2972109"/>
                </a:cubicBezTo>
                <a:cubicBezTo>
                  <a:pt x="5486543" y="3203282"/>
                  <a:pt x="5483528" y="3609036"/>
                  <a:pt x="5461353" y="3945278"/>
                </a:cubicBezTo>
                <a:lnTo>
                  <a:pt x="5461353" y="3945278"/>
                </a:lnTo>
                <a:cubicBezTo>
                  <a:pt x="5238880" y="3936691"/>
                  <a:pt x="5041401" y="3916839"/>
                  <a:pt x="4887911" y="3945278"/>
                </a:cubicBezTo>
                <a:cubicBezTo>
                  <a:pt x="4734421" y="3973717"/>
                  <a:pt x="4500958" y="3974854"/>
                  <a:pt x="4205242" y="3945278"/>
                </a:cubicBezTo>
                <a:cubicBezTo>
                  <a:pt x="3909526" y="3915702"/>
                  <a:pt x="3729356" y="3931637"/>
                  <a:pt x="3577186" y="3945278"/>
                </a:cubicBezTo>
                <a:cubicBezTo>
                  <a:pt x="3425016" y="3958919"/>
                  <a:pt x="3205077" y="3942259"/>
                  <a:pt x="3058358" y="3945278"/>
                </a:cubicBezTo>
                <a:cubicBezTo>
                  <a:pt x="2911639" y="3948297"/>
                  <a:pt x="2676384" y="3971990"/>
                  <a:pt x="2430302" y="3945278"/>
                </a:cubicBezTo>
                <a:cubicBezTo>
                  <a:pt x="2184220" y="3918566"/>
                  <a:pt x="1945052" y="3962202"/>
                  <a:pt x="1693019" y="3945278"/>
                </a:cubicBezTo>
                <a:cubicBezTo>
                  <a:pt x="1440986" y="3928354"/>
                  <a:pt x="1150111" y="3969132"/>
                  <a:pt x="1010350" y="3945278"/>
                </a:cubicBezTo>
                <a:cubicBezTo>
                  <a:pt x="870589" y="3921424"/>
                  <a:pt x="409237" y="3946527"/>
                  <a:pt x="0" y="3945278"/>
                </a:cubicBezTo>
                <a:lnTo>
                  <a:pt x="0" y="3945278"/>
                </a:lnTo>
                <a:cubicBezTo>
                  <a:pt x="26106" y="3762179"/>
                  <a:pt x="16313" y="3549495"/>
                  <a:pt x="0" y="3406090"/>
                </a:cubicBezTo>
                <a:cubicBezTo>
                  <a:pt x="-16313" y="3262685"/>
                  <a:pt x="14862" y="2949299"/>
                  <a:pt x="0" y="2827449"/>
                </a:cubicBezTo>
                <a:cubicBezTo>
                  <a:pt x="-14862" y="2705599"/>
                  <a:pt x="17124" y="2397446"/>
                  <a:pt x="0" y="2130450"/>
                </a:cubicBezTo>
                <a:cubicBezTo>
                  <a:pt x="-17124" y="1863454"/>
                  <a:pt x="-26369" y="1728761"/>
                  <a:pt x="0" y="1591262"/>
                </a:cubicBezTo>
                <a:cubicBezTo>
                  <a:pt x="26369" y="1453763"/>
                  <a:pt x="-30741" y="1195875"/>
                  <a:pt x="0" y="973169"/>
                </a:cubicBezTo>
                <a:cubicBezTo>
                  <a:pt x="30741" y="750463"/>
                  <a:pt x="-2961" y="286441"/>
                  <a:pt x="0" y="0"/>
                </a:cubicBezTo>
                <a:close/>
              </a:path>
              <a:path w="5461353" h="3945278"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2901" y="167655"/>
                  <a:pt x="5446576" y="403728"/>
                  <a:pt x="5461353" y="618094"/>
                </a:cubicBezTo>
                <a:cubicBezTo>
                  <a:pt x="5476130" y="832460"/>
                  <a:pt x="5474990" y="1121208"/>
                  <a:pt x="5461353" y="1354545"/>
                </a:cubicBezTo>
                <a:cubicBezTo>
                  <a:pt x="5447716" y="1587882"/>
                  <a:pt x="5478276" y="1717462"/>
                  <a:pt x="5461353" y="1933186"/>
                </a:cubicBezTo>
                <a:cubicBezTo>
                  <a:pt x="5444430" y="2148910"/>
                  <a:pt x="5437738" y="2290116"/>
                  <a:pt x="5461353" y="2590733"/>
                </a:cubicBezTo>
                <a:cubicBezTo>
                  <a:pt x="5484968" y="2891350"/>
                  <a:pt x="5443889" y="2964468"/>
                  <a:pt x="5461353" y="3129921"/>
                </a:cubicBezTo>
                <a:cubicBezTo>
                  <a:pt x="5478817" y="3295374"/>
                  <a:pt x="5447834" y="3735460"/>
                  <a:pt x="5461353" y="3945278"/>
                </a:cubicBezTo>
                <a:lnTo>
                  <a:pt x="5461353" y="3945278"/>
                </a:lnTo>
                <a:cubicBezTo>
                  <a:pt x="5229711" y="3924526"/>
                  <a:pt x="5055871" y="3952628"/>
                  <a:pt x="4887911" y="3945278"/>
                </a:cubicBezTo>
                <a:cubicBezTo>
                  <a:pt x="4719951" y="3937928"/>
                  <a:pt x="4440828" y="3972452"/>
                  <a:pt x="4259855" y="3945278"/>
                </a:cubicBezTo>
                <a:cubicBezTo>
                  <a:pt x="4078882" y="3918104"/>
                  <a:pt x="3931066" y="3917906"/>
                  <a:pt x="3686413" y="3945278"/>
                </a:cubicBezTo>
                <a:cubicBezTo>
                  <a:pt x="3441760" y="3972650"/>
                  <a:pt x="3372027" y="3915506"/>
                  <a:pt x="3058358" y="3945278"/>
                </a:cubicBezTo>
                <a:cubicBezTo>
                  <a:pt x="2744689" y="3975050"/>
                  <a:pt x="2531520" y="3916948"/>
                  <a:pt x="2375689" y="3945278"/>
                </a:cubicBezTo>
                <a:cubicBezTo>
                  <a:pt x="2219858" y="3973608"/>
                  <a:pt x="1841665" y="3942132"/>
                  <a:pt x="1693019" y="3945278"/>
                </a:cubicBezTo>
                <a:cubicBezTo>
                  <a:pt x="1544373" y="3948425"/>
                  <a:pt x="1298560" y="3960094"/>
                  <a:pt x="1064964" y="3945278"/>
                </a:cubicBezTo>
                <a:cubicBezTo>
                  <a:pt x="831368" y="3930462"/>
                  <a:pt x="328842" y="3912357"/>
                  <a:pt x="0" y="3945278"/>
                </a:cubicBezTo>
                <a:lnTo>
                  <a:pt x="0" y="3945278"/>
                </a:lnTo>
                <a:cubicBezTo>
                  <a:pt x="-20438" y="3758168"/>
                  <a:pt x="5751" y="3567720"/>
                  <a:pt x="0" y="3248279"/>
                </a:cubicBezTo>
                <a:cubicBezTo>
                  <a:pt x="-5751" y="2928838"/>
                  <a:pt x="17490" y="2917511"/>
                  <a:pt x="0" y="2630185"/>
                </a:cubicBezTo>
                <a:cubicBezTo>
                  <a:pt x="-17490" y="2342859"/>
                  <a:pt x="-21253" y="2104304"/>
                  <a:pt x="0" y="1972639"/>
                </a:cubicBezTo>
                <a:cubicBezTo>
                  <a:pt x="21253" y="1840974"/>
                  <a:pt x="6201" y="1700660"/>
                  <a:pt x="0" y="1433451"/>
                </a:cubicBezTo>
                <a:cubicBezTo>
                  <a:pt x="-6201" y="1166242"/>
                  <a:pt x="4378" y="1049945"/>
                  <a:pt x="0" y="775905"/>
                </a:cubicBezTo>
                <a:cubicBezTo>
                  <a:pt x="-4378" y="501865"/>
                  <a:pt x="-16333" y="247700"/>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8DA8FF88-60E5-796F-7137-D609D632F656}"/>
              </a:ext>
            </a:extLst>
          </p:cNvPr>
          <p:cNvSpPr/>
          <p:nvPr/>
        </p:nvSpPr>
        <p:spPr>
          <a:xfrm>
            <a:off x="497184" y="2458819"/>
            <a:ext cx="5461359" cy="3880276"/>
          </a:xfrm>
          <a:custGeom>
            <a:avLst/>
            <a:gdLst>
              <a:gd name="connsiteX0" fmla="*/ 0 w 5461359"/>
              <a:gd name="connsiteY0" fmla="*/ 0 h 3880276"/>
              <a:gd name="connsiteX1" fmla="*/ 737283 w 5461359"/>
              <a:gd name="connsiteY1" fmla="*/ 0 h 3880276"/>
              <a:gd name="connsiteX2" fmla="*/ 1310726 w 5461359"/>
              <a:gd name="connsiteY2" fmla="*/ 0 h 3880276"/>
              <a:gd name="connsiteX3" fmla="*/ 2048010 w 5461359"/>
              <a:gd name="connsiteY3" fmla="*/ 0 h 3880276"/>
              <a:gd name="connsiteX4" fmla="*/ 2566839 w 5461359"/>
              <a:gd name="connsiteY4" fmla="*/ 0 h 3880276"/>
              <a:gd name="connsiteX5" fmla="*/ 3140281 w 5461359"/>
              <a:gd name="connsiteY5" fmla="*/ 0 h 3880276"/>
              <a:gd name="connsiteX6" fmla="*/ 3822951 w 5461359"/>
              <a:gd name="connsiteY6" fmla="*/ 0 h 3880276"/>
              <a:gd name="connsiteX7" fmla="*/ 4560235 w 5461359"/>
              <a:gd name="connsiteY7" fmla="*/ 0 h 3880276"/>
              <a:gd name="connsiteX8" fmla="*/ 5461359 w 5461359"/>
              <a:gd name="connsiteY8" fmla="*/ 0 h 3880276"/>
              <a:gd name="connsiteX9" fmla="*/ 5461359 w 5461359"/>
              <a:gd name="connsiteY9" fmla="*/ 607910 h 3880276"/>
              <a:gd name="connsiteX10" fmla="*/ 5461359 w 5461359"/>
              <a:gd name="connsiteY10" fmla="*/ 1138214 h 3880276"/>
              <a:gd name="connsiteX11" fmla="*/ 5461359 w 5461359"/>
              <a:gd name="connsiteY11" fmla="*/ 1746124 h 3880276"/>
              <a:gd name="connsiteX12" fmla="*/ 5461359 w 5461359"/>
              <a:gd name="connsiteY12" fmla="*/ 2354034 h 3880276"/>
              <a:gd name="connsiteX13" fmla="*/ 5461359 w 5461359"/>
              <a:gd name="connsiteY13" fmla="*/ 3039550 h 3880276"/>
              <a:gd name="connsiteX14" fmla="*/ 5461359 w 5461359"/>
              <a:gd name="connsiteY14" fmla="*/ 3880276 h 3880276"/>
              <a:gd name="connsiteX15" fmla="*/ 4833303 w 5461359"/>
              <a:gd name="connsiteY15" fmla="*/ 3880276 h 3880276"/>
              <a:gd name="connsiteX16" fmla="*/ 4205246 w 5461359"/>
              <a:gd name="connsiteY16" fmla="*/ 3880276 h 3880276"/>
              <a:gd name="connsiteX17" fmla="*/ 3686417 w 5461359"/>
              <a:gd name="connsiteY17" fmla="*/ 3880276 h 3880276"/>
              <a:gd name="connsiteX18" fmla="*/ 2949134 w 5461359"/>
              <a:gd name="connsiteY18" fmla="*/ 3880276 h 3880276"/>
              <a:gd name="connsiteX19" fmla="*/ 2430305 w 5461359"/>
              <a:gd name="connsiteY19" fmla="*/ 3880276 h 3880276"/>
              <a:gd name="connsiteX20" fmla="*/ 1911476 w 5461359"/>
              <a:gd name="connsiteY20" fmla="*/ 3880276 h 3880276"/>
              <a:gd name="connsiteX21" fmla="*/ 1338033 w 5461359"/>
              <a:gd name="connsiteY21" fmla="*/ 3880276 h 3880276"/>
              <a:gd name="connsiteX22" fmla="*/ 600749 w 5461359"/>
              <a:gd name="connsiteY22" fmla="*/ 3880276 h 3880276"/>
              <a:gd name="connsiteX23" fmla="*/ 0 w 5461359"/>
              <a:gd name="connsiteY23" fmla="*/ 3880276 h 3880276"/>
              <a:gd name="connsiteX24" fmla="*/ 0 w 5461359"/>
              <a:gd name="connsiteY24" fmla="*/ 3311169 h 3880276"/>
              <a:gd name="connsiteX25" fmla="*/ 0 w 5461359"/>
              <a:gd name="connsiteY25" fmla="*/ 2664456 h 3880276"/>
              <a:gd name="connsiteX26" fmla="*/ 0 w 5461359"/>
              <a:gd name="connsiteY26" fmla="*/ 2095349 h 3880276"/>
              <a:gd name="connsiteX27" fmla="*/ 0 w 5461359"/>
              <a:gd name="connsiteY27" fmla="*/ 1409834 h 3880276"/>
              <a:gd name="connsiteX28" fmla="*/ 0 w 5461359"/>
              <a:gd name="connsiteY28" fmla="*/ 840726 h 3880276"/>
              <a:gd name="connsiteX29" fmla="*/ 0 w 5461359"/>
              <a:gd name="connsiteY29" fmla="*/ 0 h 388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dirty="0">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dirty="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Rectangle 2">
            <a:extLst>
              <a:ext uri="{FF2B5EF4-FFF2-40B4-BE49-F238E27FC236}">
                <a16:creationId xmlns:a16="http://schemas.microsoft.com/office/drawing/2014/main" id="{4D1C68F5-5BE0-15CC-45D0-9B251063BBE9}"/>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 standarden, kan I blandt andet læse om hver indikator, hvor I finder info om værdien og relevansen for den pågældende indikator. Indsæt en indikator samt beskrivende tekst om, hvad data viser, hvad årsagen til udviklingen er, hvad jeres forventninger er til fremtidig udvikling, hvilke konkrete handlinger der er taget/tages på baggrund af indsigten i data mm.</a:t>
            </a:r>
          </a:p>
        </p:txBody>
      </p:sp>
      <p:sp>
        <p:nvSpPr>
          <p:cNvPr id="4" name="Rectangle: Rounded Corners 3">
            <a:extLst>
              <a:ext uri="{FF2B5EF4-FFF2-40B4-BE49-F238E27FC236}">
                <a16:creationId xmlns:a16="http://schemas.microsoft.com/office/drawing/2014/main" id="{1182C048-6D74-8423-CE77-CD92E7E65F6D}"/>
              </a:ext>
            </a:extLst>
          </p:cNvPr>
          <p:cNvSpPr/>
          <p:nvPr/>
        </p:nvSpPr>
        <p:spPr>
          <a:xfrm>
            <a:off x="6514471" y="2754837"/>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dashboard]</a:t>
            </a:r>
          </a:p>
        </p:txBody>
      </p:sp>
      <p:sp>
        <p:nvSpPr>
          <p:cNvPr id="6" name="Rectangle: Rounded Corners 3">
            <a:extLst>
              <a:ext uri="{FF2B5EF4-FFF2-40B4-BE49-F238E27FC236}">
                <a16:creationId xmlns:a16="http://schemas.microsoft.com/office/drawing/2014/main" id="{AC21250C-4EB2-2801-CB52-E0F26B4EC12C}"/>
              </a:ext>
            </a:extLst>
          </p:cNvPr>
          <p:cNvSpPr/>
          <p:nvPr/>
        </p:nvSpPr>
        <p:spPr>
          <a:xfrm>
            <a:off x="778200" y="2754837"/>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dirty="0">
                <a:solidFill>
                  <a:srgbClr val="005850"/>
                </a:solidFill>
                <a:latin typeface="Verdana" panose="020B0604030504040204" pitchFamily="34" charset="0"/>
                <a:ea typeface="Verdana" panose="020B0604030504040204" pitchFamily="34" charset="0"/>
              </a:rPr>
              <a:t>[Screenshot af graf eller </a:t>
            </a:r>
            <a:r>
              <a:rPr lang="da-DK" sz="1200" dirty="0" err="1">
                <a:solidFill>
                  <a:srgbClr val="005850"/>
                </a:solidFill>
                <a:latin typeface="Verdana" panose="020B0604030504040204" pitchFamily="34" charset="0"/>
                <a:ea typeface="Verdana" panose="020B0604030504040204" pitchFamily="34" charset="0"/>
              </a:rPr>
              <a:t>dashboard</a:t>
            </a:r>
            <a:r>
              <a:rPr lang="da-DK" sz="1200" dirty="0">
                <a:solidFill>
                  <a:srgbClr val="005850"/>
                </a:solidFill>
                <a:latin typeface="Verdana" panose="020B0604030504040204" pitchFamily="34" charset="0"/>
                <a:ea typeface="Verdana" panose="020B0604030504040204" pitchFamily="34" charset="0"/>
              </a:rPr>
              <a:t>]</a:t>
            </a:r>
          </a:p>
        </p:txBody>
      </p:sp>
    </p:spTree>
    <p:extLst>
      <p:ext uri="{BB962C8B-B14F-4D97-AF65-F5344CB8AC3E}">
        <p14:creationId xmlns:p14="http://schemas.microsoft.com/office/powerpoint/2010/main" val="1691290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4C07A-890D-0180-0CB3-5B301E8B38D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A62B0CD-66AF-B808-EFB0-6F85F6677221}"/>
              </a:ext>
            </a:extLst>
          </p:cNvPr>
          <p:cNvSpPr/>
          <p:nvPr/>
        </p:nvSpPr>
        <p:spPr>
          <a:xfrm>
            <a:off x="6233455" y="750801"/>
            <a:ext cx="5461359" cy="5583392"/>
          </a:xfrm>
          <a:custGeom>
            <a:avLst/>
            <a:gdLst>
              <a:gd name="connsiteX0" fmla="*/ 0 w 5461359"/>
              <a:gd name="connsiteY0" fmla="*/ 0 h 5583392"/>
              <a:gd name="connsiteX1" fmla="*/ 737283 w 5461359"/>
              <a:gd name="connsiteY1" fmla="*/ 0 h 5583392"/>
              <a:gd name="connsiteX2" fmla="*/ 1474567 w 5461359"/>
              <a:gd name="connsiteY2" fmla="*/ 0 h 5583392"/>
              <a:gd name="connsiteX3" fmla="*/ 2048010 w 5461359"/>
              <a:gd name="connsiteY3" fmla="*/ 0 h 5583392"/>
              <a:gd name="connsiteX4" fmla="*/ 2730680 w 5461359"/>
              <a:gd name="connsiteY4" fmla="*/ 0 h 5583392"/>
              <a:gd name="connsiteX5" fmla="*/ 3413349 w 5461359"/>
              <a:gd name="connsiteY5" fmla="*/ 0 h 5583392"/>
              <a:gd name="connsiteX6" fmla="*/ 4205246 w 5461359"/>
              <a:gd name="connsiteY6" fmla="*/ 0 h 5583392"/>
              <a:gd name="connsiteX7" fmla="*/ 4833303 w 5461359"/>
              <a:gd name="connsiteY7" fmla="*/ 0 h 5583392"/>
              <a:gd name="connsiteX8" fmla="*/ 5461359 w 5461359"/>
              <a:gd name="connsiteY8" fmla="*/ 0 h 5583392"/>
              <a:gd name="connsiteX9" fmla="*/ 5461359 w 5461359"/>
              <a:gd name="connsiteY9" fmla="*/ 642090 h 5583392"/>
              <a:gd name="connsiteX10" fmla="*/ 5461359 w 5461359"/>
              <a:gd name="connsiteY10" fmla="*/ 1340014 h 5583392"/>
              <a:gd name="connsiteX11" fmla="*/ 5461359 w 5461359"/>
              <a:gd name="connsiteY11" fmla="*/ 1982104 h 5583392"/>
              <a:gd name="connsiteX12" fmla="*/ 5461359 w 5461359"/>
              <a:gd name="connsiteY12" fmla="*/ 2568360 h 5583392"/>
              <a:gd name="connsiteX13" fmla="*/ 5461359 w 5461359"/>
              <a:gd name="connsiteY13" fmla="*/ 3210450 h 5583392"/>
              <a:gd name="connsiteX14" fmla="*/ 5461359 w 5461359"/>
              <a:gd name="connsiteY14" fmla="*/ 3796707 h 5583392"/>
              <a:gd name="connsiteX15" fmla="*/ 5461359 w 5461359"/>
              <a:gd name="connsiteY15" fmla="*/ 4438797 h 5583392"/>
              <a:gd name="connsiteX16" fmla="*/ 5461359 w 5461359"/>
              <a:gd name="connsiteY16" fmla="*/ 5583392 h 5583392"/>
              <a:gd name="connsiteX17" fmla="*/ 4778689 w 5461359"/>
              <a:gd name="connsiteY17" fmla="*/ 5583392 h 5583392"/>
              <a:gd name="connsiteX18" fmla="*/ 3986792 w 5461359"/>
              <a:gd name="connsiteY18" fmla="*/ 5583392 h 5583392"/>
              <a:gd name="connsiteX19" fmla="*/ 3358736 w 5461359"/>
              <a:gd name="connsiteY19" fmla="*/ 5583392 h 5583392"/>
              <a:gd name="connsiteX20" fmla="*/ 2676066 w 5461359"/>
              <a:gd name="connsiteY20" fmla="*/ 5583392 h 5583392"/>
              <a:gd name="connsiteX21" fmla="*/ 2102623 w 5461359"/>
              <a:gd name="connsiteY21" fmla="*/ 5583392 h 5583392"/>
              <a:gd name="connsiteX22" fmla="*/ 1474567 w 5461359"/>
              <a:gd name="connsiteY22" fmla="*/ 5583392 h 5583392"/>
              <a:gd name="connsiteX23" fmla="*/ 737283 w 5461359"/>
              <a:gd name="connsiteY23" fmla="*/ 5583392 h 5583392"/>
              <a:gd name="connsiteX24" fmla="*/ 0 w 5461359"/>
              <a:gd name="connsiteY24" fmla="*/ 5583392 h 5583392"/>
              <a:gd name="connsiteX25" fmla="*/ 0 w 5461359"/>
              <a:gd name="connsiteY25" fmla="*/ 4885468 h 5583392"/>
              <a:gd name="connsiteX26" fmla="*/ 0 w 5461359"/>
              <a:gd name="connsiteY26" fmla="*/ 4187544 h 5583392"/>
              <a:gd name="connsiteX27" fmla="*/ 0 w 5461359"/>
              <a:gd name="connsiteY27" fmla="*/ 3433786 h 5583392"/>
              <a:gd name="connsiteX28" fmla="*/ 0 w 5461359"/>
              <a:gd name="connsiteY28" fmla="*/ 2903364 h 5583392"/>
              <a:gd name="connsiteX29" fmla="*/ 0 w 5461359"/>
              <a:gd name="connsiteY29" fmla="*/ 2205440 h 5583392"/>
              <a:gd name="connsiteX30" fmla="*/ 0 w 5461359"/>
              <a:gd name="connsiteY30" fmla="*/ 1507516 h 5583392"/>
              <a:gd name="connsiteX31" fmla="*/ 0 w 5461359"/>
              <a:gd name="connsiteY31" fmla="*/ 865426 h 5583392"/>
              <a:gd name="connsiteX32" fmla="*/ 0 w 5461359"/>
              <a:gd name="connsiteY32" fmla="*/ 0 h 5583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9" h="5583392" fill="none" extrusionOk="0">
                <a:moveTo>
                  <a:pt x="0" y="0"/>
                </a:moveTo>
                <a:cubicBezTo>
                  <a:pt x="173461" y="9373"/>
                  <a:pt x="497756" y="-13155"/>
                  <a:pt x="737283" y="0"/>
                </a:cubicBezTo>
                <a:cubicBezTo>
                  <a:pt x="976810" y="13155"/>
                  <a:pt x="1306370" y="29340"/>
                  <a:pt x="1474567" y="0"/>
                </a:cubicBezTo>
                <a:cubicBezTo>
                  <a:pt x="1642764" y="-29340"/>
                  <a:pt x="1883442" y="-23859"/>
                  <a:pt x="2048010" y="0"/>
                </a:cubicBezTo>
                <a:cubicBezTo>
                  <a:pt x="2212578" y="23859"/>
                  <a:pt x="2394603" y="-4999"/>
                  <a:pt x="2730680" y="0"/>
                </a:cubicBezTo>
                <a:cubicBezTo>
                  <a:pt x="3066757" y="4999"/>
                  <a:pt x="3229252" y="-23838"/>
                  <a:pt x="3413349" y="0"/>
                </a:cubicBezTo>
                <a:cubicBezTo>
                  <a:pt x="3597446" y="23838"/>
                  <a:pt x="3937817" y="-4741"/>
                  <a:pt x="4205246" y="0"/>
                </a:cubicBezTo>
                <a:cubicBezTo>
                  <a:pt x="4472675" y="4741"/>
                  <a:pt x="4674760" y="-26400"/>
                  <a:pt x="4833303" y="0"/>
                </a:cubicBezTo>
                <a:cubicBezTo>
                  <a:pt x="4991846" y="26400"/>
                  <a:pt x="5286476" y="14575"/>
                  <a:pt x="5461359" y="0"/>
                </a:cubicBezTo>
                <a:cubicBezTo>
                  <a:pt x="5455367" y="269248"/>
                  <a:pt x="5461618" y="510009"/>
                  <a:pt x="5461359" y="642090"/>
                </a:cubicBezTo>
                <a:cubicBezTo>
                  <a:pt x="5461101" y="774171"/>
                  <a:pt x="5430822" y="1100814"/>
                  <a:pt x="5461359" y="1340014"/>
                </a:cubicBezTo>
                <a:cubicBezTo>
                  <a:pt x="5491896" y="1579214"/>
                  <a:pt x="5478173" y="1798401"/>
                  <a:pt x="5461359" y="1982104"/>
                </a:cubicBezTo>
                <a:cubicBezTo>
                  <a:pt x="5444546" y="2165807"/>
                  <a:pt x="5489531" y="2315140"/>
                  <a:pt x="5461359" y="2568360"/>
                </a:cubicBezTo>
                <a:cubicBezTo>
                  <a:pt x="5433187" y="2821580"/>
                  <a:pt x="5468917" y="3013623"/>
                  <a:pt x="5461359" y="3210450"/>
                </a:cubicBezTo>
                <a:cubicBezTo>
                  <a:pt x="5453802" y="3407277"/>
                  <a:pt x="5461316" y="3588741"/>
                  <a:pt x="5461359" y="3796707"/>
                </a:cubicBezTo>
                <a:cubicBezTo>
                  <a:pt x="5461402" y="4004673"/>
                  <a:pt x="5484723" y="4215564"/>
                  <a:pt x="5461359" y="4438797"/>
                </a:cubicBezTo>
                <a:cubicBezTo>
                  <a:pt x="5437996" y="4662030"/>
                  <a:pt x="5452059" y="5237704"/>
                  <a:pt x="5461359" y="5583392"/>
                </a:cubicBezTo>
                <a:cubicBezTo>
                  <a:pt x="5322593" y="5577533"/>
                  <a:pt x="4979361" y="5578736"/>
                  <a:pt x="4778689" y="5583392"/>
                </a:cubicBezTo>
                <a:cubicBezTo>
                  <a:pt x="4578017" y="5588049"/>
                  <a:pt x="4313414" y="5602981"/>
                  <a:pt x="3986792" y="5583392"/>
                </a:cubicBezTo>
                <a:cubicBezTo>
                  <a:pt x="3660170" y="5563803"/>
                  <a:pt x="3489143" y="5582641"/>
                  <a:pt x="3358736" y="5583392"/>
                </a:cubicBezTo>
                <a:cubicBezTo>
                  <a:pt x="3228329" y="5584143"/>
                  <a:pt x="2902606" y="5585843"/>
                  <a:pt x="2676066" y="5583392"/>
                </a:cubicBezTo>
                <a:cubicBezTo>
                  <a:pt x="2449526" y="5580942"/>
                  <a:pt x="2371447" y="5555362"/>
                  <a:pt x="2102623" y="5583392"/>
                </a:cubicBezTo>
                <a:cubicBezTo>
                  <a:pt x="1833799" y="5611422"/>
                  <a:pt x="1626187" y="5555201"/>
                  <a:pt x="1474567" y="5583392"/>
                </a:cubicBezTo>
                <a:cubicBezTo>
                  <a:pt x="1322947" y="5611583"/>
                  <a:pt x="989280" y="5557030"/>
                  <a:pt x="737283" y="5583392"/>
                </a:cubicBezTo>
                <a:cubicBezTo>
                  <a:pt x="485286" y="5609754"/>
                  <a:pt x="278973" y="5591242"/>
                  <a:pt x="0" y="5583392"/>
                </a:cubicBezTo>
                <a:cubicBezTo>
                  <a:pt x="29033" y="5306857"/>
                  <a:pt x="-3894" y="5216205"/>
                  <a:pt x="0" y="4885468"/>
                </a:cubicBezTo>
                <a:cubicBezTo>
                  <a:pt x="3894" y="4554731"/>
                  <a:pt x="-34736" y="4463335"/>
                  <a:pt x="0" y="4187544"/>
                </a:cubicBezTo>
                <a:cubicBezTo>
                  <a:pt x="34736" y="3911753"/>
                  <a:pt x="-29385" y="3733265"/>
                  <a:pt x="0" y="3433786"/>
                </a:cubicBezTo>
                <a:cubicBezTo>
                  <a:pt x="29385" y="3134307"/>
                  <a:pt x="-17441" y="3060999"/>
                  <a:pt x="0" y="2903364"/>
                </a:cubicBezTo>
                <a:cubicBezTo>
                  <a:pt x="17441" y="2745729"/>
                  <a:pt x="-3624" y="2526094"/>
                  <a:pt x="0" y="2205440"/>
                </a:cubicBezTo>
                <a:cubicBezTo>
                  <a:pt x="3624" y="1884786"/>
                  <a:pt x="24632" y="1809727"/>
                  <a:pt x="0" y="1507516"/>
                </a:cubicBezTo>
                <a:cubicBezTo>
                  <a:pt x="-24632" y="1205305"/>
                  <a:pt x="-14962" y="1170752"/>
                  <a:pt x="0" y="865426"/>
                </a:cubicBezTo>
                <a:cubicBezTo>
                  <a:pt x="14962" y="560100"/>
                  <a:pt x="29520" y="370255"/>
                  <a:pt x="0" y="0"/>
                </a:cubicBezTo>
                <a:close/>
              </a:path>
              <a:path w="5461359" h="5583392"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33834" y="257387"/>
                  <a:pt x="5434647" y="441845"/>
                  <a:pt x="5461359" y="642090"/>
                </a:cubicBezTo>
                <a:cubicBezTo>
                  <a:pt x="5488072" y="842335"/>
                  <a:pt x="5470030" y="1021349"/>
                  <a:pt x="5461359" y="1172512"/>
                </a:cubicBezTo>
                <a:cubicBezTo>
                  <a:pt x="5452688" y="1323675"/>
                  <a:pt x="5476431" y="1564964"/>
                  <a:pt x="5461359" y="1814602"/>
                </a:cubicBezTo>
                <a:cubicBezTo>
                  <a:pt x="5446288" y="2064240"/>
                  <a:pt x="5465107" y="2303804"/>
                  <a:pt x="5461359" y="2456692"/>
                </a:cubicBezTo>
                <a:cubicBezTo>
                  <a:pt x="5457612" y="2609580"/>
                  <a:pt x="5473479" y="2915689"/>
                  <a:pt x="5461359" y="3210450"/>
                </a:cubicBezTo>
                <a:cubicBezTo>
                  <a:pt x="5449239" y="3505211"/>
                  <a:pt x="5479454" y="3556940"/>
                  <a:pt x="5461359" y="3796707"/>
                </a:cubicBezTo>
                <a:cubicBezTo>
                  <a:pt x="5443264" y="4036474"/>
                  <a:pt x="5448527" y="4307951"/>
                  <a:pt x="5461359" y="4438797"/>
                </a:cubicBezTo>
                <a:cubicBezTo>
                  <a:pt x="5474192" y="4569643"/>
                  <a:pt x="5476642" y="5126701"/>
                  <a:pt x="5461359" y="5583392"/>
                </a:cubicBezTo>
                <a:cubicBezTo>
                  <a:pt x="5182884" y="5600762"/>
                  <a:pt x="5044107" y="5560873"/>
                  <a:pt x="4887916" y="5583392"/>
                </a:cubicBezTo>
                <a:cubicBezTo>
                  <a:pt x="4731725" y="5605911"/>
                  <a:pt x="4376918" y="5572794"/>
                  <a:pt x="4150633" y="5583392"/>
                </a:cubicBezTo>
                <a:cubicBezTo>
                  <a:pt x="3924348" y="5593990"/>
                  <a:pt x="3791622" y="5563926"/>
                  <a:pt x="3631804" y="5583392"/>
                </a:cubicBezTo>
                <a:cubicBezTo>
                  <a:pt x="3471986" y="5602858"/>
                  <a:pt x="3319363" y="5604705"/>
                  <a:pt x="3112975" y="5583392"/>
                </a:cubicBezTo>
                <a:cubicBezTo>
                  <a:pt x="2906587" y="5562079"/>
                  <a:pt x="2659549" y="5609272"/>
                  <a:pt x="2539532" y="5583392"/>
                </a:cubicBezTo>
                <a:cubicBezTo>
                  <a:pt x="2419515" y="5557512"/>
                  <a:pt x="2010954" y="5613419"/>
                  <a:pt x="1802248" y="5583392"/>
                </a:cubicBezTo>
                <a:cubicBezTo>
                  <a:pt x="1593542" y="5553365"/>
                  <a:pt x="1425338" y="5557030"/>
                  <a:pt x="1119579" y="5583392"/>
                </a:cubicBezTo>
                <a:cubicBezTo>
                  <a:pt x="813820" y="5609754"/>
                  <a:pt x="376854" y="5638965"/>
                  <a:pt x="0" y="5583392"/>
                </a:cubicBezTo>
                <a:cubicBezTo>
                  <a:pt x="-9407" y="5331099"/>
                  <a:pt x="-19832" y="5249704"/>
                  <a:pt x="0" y="4941302"/>
                </a:cubicBezTo>
                <a:cubicBezTo>
                  <a:pt x="19832" y="4632900"/>
                  <a:pt x="19859" y="4543715"/>
                  <a:pt x="0" y="4355046"/>
                </a:cubicBezTo>
                <a:cubicBezTo>
                  <a:pt x="-19859" y="4166377"/>
                  <a:pt x="4817" y="3796378"/>
                  <a:pt x="0" y="3601288"/>
                </a:cubicBezTo>
                <a:cubicBezTo>
                  <a:pt x="-4817" y="3406198"/>
                  <a:pt x="22406" y="3305432"/>
                  <a:pt x="0" y="3015032"/>
                </a:cubicBezTo>
                <a:cubicBezTo>
                  <a:pt x="-22406" y="2724632"/>
                  <a:pt x="3472" y="2414320"/>
                  <a:pt x="0" y="2261274"/>
                </a:cubicBezTo>
                <a:cubicBezTo>
                  <a:pt x="-3472" y="2108228"/>
                  <a:pt x="8485" y="1978976"/>
                  <a:pt x="0" y="1730852"/>
                </a:cubicBezTo>
                <a:cubicBezTo>
                  <a:pt x="-8485" y="1482728"/>
                  <a:pt x="-25538" y="1424646"/>
                  <a:pt x="0" y="1200429"/>
                </a:cubicBezTo>
                <a:cubicBezTo>
                  <a:pt x="25538" y="976212"/>
                  <a:pt x="57249" y="490196"/>
                  <a:pt x="0" y="0"/>
                </a:cubicBezTo>
                <a:close/>
              </a:path>
            </a:pathLst>
          </a:custGeom>
          <a:solidFill>
            <a:srgbClr val="FCD9DC"/>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dirty="0">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dirty="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9" name="think-cell data - do not delete" hidden="1">
            <a:extLst>
              <a:ext uri="{FF2B5EF4-FFF2-40B4-BE49-F238E27FC236}">
                <a16:creationId xmlns:a16="http://schemas.microsoft.com/office/drawing/2014/main" id="{55B4660A-9920-2EF0-669A-861C42FBE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55B4660A-9920-2EF0-669A-861C42FBE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BC20511-2D73-B8F0-FA02-A68256AED540}"/>
              </a:ext>
            </a:extLst>
          </p:cNvPr>
          <p:cNvSpPr>
            <a:spLocks noGrp="1"/>
          </p:cNvSpPr>
          <p:nvPr>
            <p:ph type="sldNum" sz="quarter" idx="12"/>
          </p:nvPr>
        </p:nvSpPr>
        <p:spPr/>
        <p:txBody>
          <a:bodyPr/>
          <a:lstStyle/>
          <a:p>
            <a:fld id="{D1CF6110-3358-3240-B3E6-2B2529506D05}" type="slidenum">
              <a:rPr lang="da-DK" smtClean="0"/>
              <a:t>22</a:t>
            </a:fld>
            <a:endParaRPr lang="da-DK"/>
          </a:p>
        </p:txBody>
      </p:sp>
      <p:sp>
        <p:nvSpPr>
          <p:cNvPr id="8" name="Rectangle 7">
            <a:extLst>
              <a:ext uri="{FF2B5EF4-FFF2-40B4-BE49-F238E27FC236}">
                <a16:creationId xmlns:a16="http://schemas.microsoft.com/office/drawing/2014/main" id="{FEF2CA54-BBEF-3C06-35A3-1DC3120A8A45}"/>
              </a:ext>
            </a:extLst>
          </p:cNvPr>
          <p:cNvSpPr/>
          <p:nvPr/>
        </p:nvSpPr>
        <p:spPr>
          <a:xfrm>
            <a:off x="522889" y="1747168"/>
            <a:ext cx="5146391" cy="19807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a:t>
            </a:r>
          </a:p>
        </p:txBody>
      </p:sp>
      <p:sp>
        <p:nvSpPr>
          <p:cNvPr id="14" name="Title 1">
            <a:extLst>
              <a:ext uri="{FF2B5EF4-FFF2-40B4-BE49-F238E27FC236}">
                <a16:creationId xmlns:a16="http://schemas.microsoft.com/office/drawing/2014/main" id="{F13BA55A-9ACF-46C5-2A77-CC145BFB4A42}"/>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DM Sans" pitchFamily="2" charset="77"/>
                <a:ea typeface="Verdana" panose="020B0604030504040204" pitchFamily="34" charset="0"/>
                <a:cs typeface="HelveticaNowDisplay Regular" panose="020B0504030202020204" pitchFamily="34" charset="77"/>
              </a:rPr>
              <a:t>[Navn på målepunkt 2]</a:t>
            </a:r>
            <a:endParaRPr lang="da-DK" sz="4000" dirty="0">
              <a:solidFill>
                <a:srgbClr val="005850"/>
              </a:solidFill>
              <a:latin typeface="DM Sans" pitchFamily="2" charset="0"/>
              <a:ea typeface="Verdana" panose="020B0604030504040204" pitchFamily="34" charset="0"/>
            </a:endParaRPr>
          </a:p>
        </p:txBody>
      </p:sp>
      <p:sp>
        <p:nvSpPr>
          <p:cNvPr id="3" name="Rectangle: Rounded Corners 3">
            <a:extLst>
              <a:ext uri="{FF2B5EF4-FFF2-40B4-BE49-F238E27FC236}">
                <a16:creationId xmlns:a16="http://schemas.microsoft.com/office/drawing/2014/main" id="{31525884-FF7F-8DBF-75DB-831B67DC0450}"/>
              </a:ext>
            </a:extLst>
          </p:cNvPr>
          <p:cNvSpPr/>
          <p:nvPr/>
        </p:nvSpPr>
        <p:spPr>
          <a:xfrm>
            <a:off x="6480514" y="1235526"/>
            <a:ext cx="4899332" cy="486386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dashboard]</a:t>
            </a:r>
          </a:p>
        </p:txBody>
      </p:sp>
      <p:pic>
        <p:nvPicPr>
          <p:cNvPr id="4" name="Picture 3" descr="A pink circle with a white letter&#10;&#10;AI-generated content may be incorrect.">
            <a:extLst>
              <a:ext uri="{FF2B5EF4-FFF2-40B4-BE49-F238E27FC236}">
                <a16:creationId xmlns:a16="http://schemas.microsoft.com/office/drawing/2014/main" id="{73EA6592-BB46-039B-B172-FB5C5F5524CE}"/>
              </a:ext>
            </a:extLst>
          </p:cNvPr>
          <p:cNvPicPr>
            <a:picLocks noChangeAspect="1"/>
          </p:cNvPicPr>
          <p:nvPr/>
        </p:nvPicPr>
        <p:blipFill>
          <a:blip r:embed="rId5">
            <a:alphaModFix/>
          </a:blip>
          <a:stretch>
            <a:fillRect/>
          </a:stretch>
        </p:blipFill>
        <p:spPr>
          <a:xfrm>
            <a:off x="11094393" y="89320"/>
            <a:ext cx="600421" cy="661481"/>
          </a:xfrm>
          <a:prstGeom prst="rect">
            <a:avLst/>
          </a:prstGeom>
        </p:spPr>
      </p:pic>
    </p:spTree>
    <p:extLst>
      <p:ext uri="{BB962C8B-B14F-4D97-AF65-F5344CB8AC3E}">
        <p14:creationId xmlns:p14="http://schemas.microsoft.com/office/powerpoint/2010/main" val="1874315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97A2BD">
            <a:alpha val="20000"/>
          </a:srgbClr>
        </a:solidFill>
        <a:effectLst/>
      </p:bgPr>
    </p:bg>
    <p:spTree>
      <p:nvGrpSpPr>
        <p:cNvPr id="1" name="">
          <a:extLst>
            <a:ext uri="{FF2B5EF4-FFF2-40B4-BE49-F238E27FC236}">
              <a16:creationId xmlns:a16="http://schemas.microsoft.com/office/drawing/2014/main" id="{9733E0A0-123A-36C3-9973-DC458A45EF99}"/>
            </a:ext>
          </a:extLst>
        </p:cNvPr>
        <p:cNvGrpSpPr/>
        <p:nvPr/>
      </p:nvGrpSpPr>
      <p:grpSpPr>
        <a:xfrm>
          <a:off x="0" y="0"/>
          <a:ext cx="0" cy="0"/>
          <a:chOff x="0" y="0"/>
          <a:chExt cx="0" cy="0"/>
        </a:xfrm>
      </p:grpSpPr>
      <p:sp>
        <p:nvSpPr>
          <p:cNvPr id="10" name="Kombinationstegning 9">
            <a:extLst>
              <a:ext uri="{FF2B5EF4-FFF2-40B4-BE49-F238E27FC236}">
                <a16:creationId xmlns:a16="http://schemas.microsoft.com/office/drawing/2014/main" id="{22A9FA94-0FC8-26ED-EA40-9043C16FA3FA}"/>
              </a:ext>
            </a:extLst>
          </p:cNvPr>
          <p:cNvSpPr/>
          <p:nvPr/>
        </p:nvSpPr>
        <p:spPr>
          <a:xfrm>
            <a:off x="-95795" y="-69669"/>
            <a:ext cx="5430937" cy="3045271"/>
          </a:xfrm>
          <a:custGeom>
            <a:avLst/>
            <a:gdLst>
              <a:gd name="connsiteX0" fmla="*/ 63062 w 6247831"/>
              <a:gd name="connsiteY0" fmla="*/ 3451657 h 3529431"/>
              <a:gd name="connsiteX1" fmla="*/ 3405352 w 6247831"/>
              <a:gd name="connsiteY1" fmla="*/ 3483188 h 3529431"/>
              <a:gd name="connsiteX2" fmla="*/ 4939862 w 6247831"/>
              <a:gd name="connsiteY2" fmla="*/ 2905119 h 3529431"/>
              <a:gd name="connsiteX3" fmla="*/ 6169573 w 6247831"/>
              <a:gd name="connsiteY3" fmla="*/ 1738471 h 3529431"/>
              <a:gd name="connsiteX4" fmla="*/ 5780690 w 6247831"/>
              <a:gd name="connsiteY4" fmla="*/ 161919 h 3529431"/>
              <a:gd name="connsiteX5" fmla="*/ 3016469 w 6247831"/>
              <a:gd name="connsiteY5" fmla="*/ 35795 h 3529431"/>
              <a:gd name="connsiteX6" fmla="*/ 0 w 6247831"/>
              <a:gd name="connsiteY6" fmla="*/ 25285 h 352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7831" h="3529431">
                <a:moveTo>
                  <a:pt x="63062" y="3451657"/>
                </a:moveTo>
                <a:cubicBezTo>
                  <a:pt x="1327807" y="3512967"/>
                  <a:pt x="2592552" y="3574278"/>
                  <a:pt x="3405352" y="3483188"/>
                </a:cubicBezTo>
                <a:cubicBezTo>
                  <a:pt x="4218152" y="3392098"/>
                  <a:pt x="4479158" y="3195905"/>
                  <a:pt x="4939862" y="2905119"/>
                </a:cubicBezTo>
                <a:cubicBezTo>
                  <a:pt x="5400566" y="2614333"/>
                  <a:pt x="6029435" y="2195671"/>
                  <a:pt x="6169573" y="1738471"/>
                </a:cubicBezTo>
                <a:cubicBezTo>
                  <a:pt x="6309711" y="1281271"/>
                  <a:pt x="6306207" y="445698"/>
                  <a:pt x="5780690" y="161919"/>
                </a:cubicBezTo>
                <a:cubicBezTo>
                  <a:pt x="5255173" y="-121860"/>
                  <a:pt x="3979917" y="58567"/>
                  <a:pt x="3016469" y="35795"/>
                </a:cubicBezTo>
                <a:cubicBezTo>
                  <a:pt x="2053021" y="13023"/>
                  <a:pt x="1026510" y="19154"/>
                  <a:pt x="0" y="25285"/>
                </a:cubicBezTo>
              </a:path>
            </a:pathLst>
          </a:custGeom>
          <a:solidFill>
            <a:srgbClr val="97A2B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Pladsholder til slidenummer 4">
            <a:extLst>
              <a:ext uri="{FF2B5EF4-FFF2-40B4-BE49-F238E27FC236}">
                <a16:creationId xmlns:a16="http://schemas.microsoft.com/office/drawing/2014/main" id="{3A956496-3AE0-4C1D-CD7B-FA55E86E141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6" name="Tekstfelt 5">
            <a:extLst>
              <a:ext uri="{FF2B5EF4-FFF2-40B4-BE49-F238E27FC236}">
                <a16:creationId xmlns:a16="http://schemas.microsoft.com/office/drawing/2014/main" id="{60E0C0B8-AD6C-0E00-6AD9-42A44FD603DE}"/>
              </a:ext>
            </a:extLst>
          </p:cNvPr>
          <p:cNvSpPr txBox="1"/>
          <p:nvPr/>
        </p:nvSpPr>
        <p:spPr>
          <a:xfrm>
            <a:off x="5717588" y="631485"/>
            <a:ext cx="6186498" cy="1174232"/>
          </a:xfrm>
          <a:prstGeom prst="rect">
            <a:avLst/>
          </a:prstGeom>
          <a:noFill/>
        </p:spPr>
        <p:txBody>
          <a:bodyPr wrap="square" lIns="91440" tIns="45720" rIns="91440" bIns="45720" rtlCol="0" anchor="t">
            <a:spAutoFit/>
          </a:bodyPr>
          <a:lstStyle/>
          <a:p>
            <a:pPr>
              <a:lnSpc>
                <a:spcPct val="107000"/>
              </a:lnSpc>
              <a:spcAft>
                <a:spcPts val="800"/>
              </a:spcAft>
              <a:defRPr/>
            </a:pPr>
            <a:r>
              <a:rPr lang="da-DK" sz="1100" dirty="0">
                <a:latin typeface="Verdana" panose="020B0604030504040204" pitchFamily="34" charset="0"/>
                <a:ea typeface="Verdana" panose="020B0604030504040204" pitchFamily="34" charset="0"/>
              </a:rPr>
              <a:t>Governance udgør kernen i en bæredygtig og ansvarlig forvaltning af den almene boligsektor. Sektoren er præget af særlige rammevilkår, hvor gennemsigtighed, ansvarlighed og beboerdemokratiske processer er afgørende for at opretholde tillid blandt beboere, myndigheder og øvrige interessenter. </a:t>
            </a:r>
            <a:r>
              <a:rPr lang="da-DK" sz="1100" dirty="0">
                <a:latin typeface="Verdana" panose="020B0604030504040204" pitchFamily="34" charset="0"/>
                <a:ea typeface="Verdana" panose="020B0604030504040204" pitchFamily="34" charset="0"/>
                <a:cs typeface="+mn-lt"/>
              </a:rPr>
              <a:t>Governance-dimensionen i ESG er derfor central for at sikre en veldrevet sektor, hvor både beslutninger, drift og udvikling bygger på tydelige og transparente processer.</a:t>
            </a:r>
            <a:endParaRPr lang="da-DK" sz="1100" u="none" strike="noStrike" cap="none" spc="0" normalizeH="0" baseline="0" noProof="0" dirty="0">
              <a:ln>
                <a:noFill/>
              </a:ln>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7" name="Tekstfelt 6">
            <a:extLst>
              <a:ext uri="{FF2B5EF4-FFF2-40B4-BE49-F238E27FC236}">
                <a16:creationId xmlns:a16="http://schemas.microsoft.com/office/drawing/2014/main" id="{BFC38EDE-DB37-7BB6-07A0-FF283E73EF68}"/>
              </a:ext>
            </a:extLst>
          </p:cNvPr>
          <p:cNvSpPr txBox="1"/>
          <p:nvPr/>
        </p:nvSpPr>
        <p:spPr>
          <a:xfrm>
            <a:off x="2078915" y="662435"/>
            <a:ext cx="257795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u="none" strike="noStrike" kern="100" cap="none" spc="0" normalizeH="0" baseline="0" noProof="0" dirty="0">
                <a:ln>
                  <a:noFill/>
                </a:ln>
                <a:solidFill>
                  <a:srgbClr val="51597F"/>
                </a:solidFill>
                <a:effectLst/>
                <a:uLnTx/>
                <a:uFillTx/>
                <a:latin typeface="Verdana" panose="020B0604030504040204" pitchFamily="34" charset="0"/>
                <a:ea typeface="Verdana" panose="020B0604030504040204" pitchFamily="34" charset="0"/>
                <a:cs typeface="Times New Roman" panose="02020603050405020304" pitchFamily="18" charset="0"/>
              </a:rPr>
              <a:t>Governance</a:t>
            </a:r>
          </a:p>
        </p:txBody>
      </p:sp>
      <p:pic>
        <p:nvPicPr>
          <p:cNvPr id="9" name="Billede 8" descr="Et billede, der indeholder skitse, tegning, kunst&#10;&#10;Indhold genereret af kunstig intelligens kan være forkert.">
            <a:extLst>
              <a:ext uri="{FF2B5EF4-FFF2-40B4-BE49-F238E27FC236}">
                <a16:creationId xmlns:a16="http://schemas.microsoft.com/office/drawing/2014/main" id="{80E1F912-5606-055B-4EED-CB0FCE0457ED}"/>
              </a:ext>
            </a:extLst>
          </p:cNvPr>
          <p:cNvPicPr>
            <a:picLocks noChangeAspect="1"/>
          </p:cNvPicPr>
          <p:nvPr/>
        </p:nvPicPr>
        <p:blipFill>
          <a:blip r:embed="rId3">
            <a:biLevel thresh="50000"/>
          </a:blip>
          <a:stretch>
            <a:fillRect/>
          </a:stretch>
        </p:blipFill>
        <p:spPr>
          <a:xfrm>
            <a:off x="145259" y="603762"/>
            <a:ext cx="1489004" cy="2072532"/>
          </a:xfrm>
          <a:prstGeom prst="rect">
            <a:avLst/>
          </a:prstGeom>
          <a:ln>
            <a:noFill/>
          </a:ln>
        </p:spPr>
      </p:pic>
      <p:grpSp>
        <p:nvGrpSpPr>
          <p:cNvPr id="18" name="Group 332">
            <a:extLst>
              <a:ext uri="{FF2B5EF4-FFF2-40B4-BE49-F238E27FC236}">
                <a16:creationId xmlns:a16="http://schemas.microsoft.com/office/drawing/2014/main" id="{7AD12E22-099B-3E72-B287-DCD0F7A38162}"/>
              </a:ext>
            </a:extLst>
          </p:cNvPr>
          <p:cNvGrpSpPr/>
          <p:nvPr/>
        </p:nvGrpSpPr>
        <p:grpSpPr>
          <a:xfrm rot="21410080">
            <a:off x="1149515" y="469899"/>
            <a:ext cx="905270" cy="898990"/>
            <a:chOff x="8336051" y="3610471"/>
            <a:chExt cx="2227633" cy="2212181"/>
          </a:xfrm>
        </p:grpSpPr>
        <p:sp>
          <p:nvSpPr>
            <p:cNvPr id="19" name="Freeform: Shape 333">
              <a:extLst>
                <a:ext uri="{FF2B5EF4-FFF2-40B4-BE49-F238E27FC236}">
                  <a16:creationId xmlns:a16="http://schemas.microsoft.com/office/drawing/2014/main" id="{8893FC29-3E74-A623-5319-B5239D9AF96C}"/>
                </a:ext>
              </a:extLst>
            </p:cNvPr>
            <p:cNvSpPr/>
            <p:nvPr/>
          </p:nvSpPr>
          <p:spPr>
            <a:xfrm>
              <a:off x="8336051" y="3610471"/>
              <a:ext cx="2205948" cy="2164296"/>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solidFill>
              <a:srgbClr val="51597F"/>
            </a:solidFill>
            <a:ln w="521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3200" b="1" i="0" u="none" strike="noStrike" kern="0" cap="none" spc="0" normalizeH="0" baseline="0" noProof="0">
                  <a:ln>
                    <a:noFill/>
                  </a:ln>
                  <a:solidFill>
                    <a:srgbClr val="FFFFFF"/>
                  </a:solidFill>
                  <a:effectLst/>
                  <a:uLnTx/>
                  <a:uFillTx/>
                  <a:latin typeface="DM Sans" pitchFamily="2" charset="77"/>
                  <a:ea typeface="Verdana" panose="020B0604030504040204" pitchFamily="34" charset="0"/>
                </a:rPr>
                <a:t>G</a:t>
              </a:r>
            </a:p>
          </p:txBody>
        </p:sp>
        <p:sp>
          <p:nvSpPr>
            <p:cNvPr id="20" name="Freeform: Shape 334">
              <a:extLst>
                <a:ext uri="{FF2B5EF4-FFF2-40B4-BE49-F238E27FC236}">
                  <a16:creationId xmlns:a16="http://schemas.microsoft.com/office/drawing/2014/main" id="{F94D0194-2919-A6D6-DB6C-738B9CB68098}"/>
                </a:ext>
              </a:extLst>
            </p:cNvPr>
            <p:cNvSpPr/>
            <p:nvPr/>
          </p:nvSpPr>
          <p:spPr>
            <a:xfrm>
              <a:off x="8357736" y="3658356"/>
              <a:ext cx="2205948" cy="2164296"/>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noFill/>
            <a:ln w="5213" cap="flat">
              <a:solidFill>
                <a:srgbClr val="252F5F"/>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i="0" u="none" strike="noStrike" kern="0" cap="none" spc="0" normalizeH="0" baseline="0" noProof="0">
                <a:ln>
                  <a:noFill/>
                </a:ln>
                <a:solidFill>
                  <a:srgbClr val="FFFFFF"/>
                </a:solidFill>
                <a:effectLst/>
                <a:uLnTx/>
                <a:uFillTx/>
                <a:latin typeface="DM Sans" pitchFamily="2" charset="77"/>
                <a:ea typeface="Verdana" panose="020B0604030504040204" pitchFamily="34" charset="0"/>
              </a:endParaRPr>
            </a:p>
          </p:txBody>
        </p:sp>
      </p:grpSp>
      <p:sp>
        <p:nvSpPr>
          <p:cNvPr id="2" name="Freeform: Shape 23">
            <a:extLst>
              <a:ext uri="{FF2B5EF4-FFF2-40B4-BE49-F238E27FC236}">
                <a16:creationId xmlns:a16="http://schemas.microsoft.com/office/drawing/2014/main" id="{344DC4CC-A204-040B-9D42-1444F4E5824D}"/>
              </a:ext>
            </a:extLst>
          </p:cNvPr>
          <p:cNvSpPr/>
          <p:nvPr/>
        </p:nvSpPr>
        <p:spPr>
          <a:xfrm>
            <a:off x="5570837" y="482822"/>
            <a:ext cx="3240000" cy="1280317"/>
          </a:xfrm>
          <a:custGeom>
            <a:avLst/>
            <a:gdLst>
              <a:gd name="connsiteX0" fmla="*/ 405429 w 6457064"/>
              <a:gd name="connsiteY0" fmla="*/ 121 h 3268876"/>
              <a:gd name="connsiteX1" fmla="*/ 565759 w 6457064"/>
              <a:gd name="connsiteY1" fmla="*/ 3595 h 3268876"/>
              <a:gd name="connsiteX2" fmla="*/ 6457064 w 6457064"/>
              <a:gd name="connsiteY2" fmla="*/ 3595 h 3268876"/>
              <a:gd name="connsiteX3" fmla="*/ 2142273 w 6457064"/>
              <a:gd name="connsiteY3" fmla="*/ 3268876 h 3268876"/>
              <a:gd name="connsiteX4" fmla="*/ 0 w 6457064"/>
              <a:gd name="connsiteY4" fmla="*/ 3268876 h 3268876"/>
              <a:gd name="connsiteX5" fmla="*/ 0 w 6457064"/>
              <a:gd name="connsiteY5" fmla="*/ 540587 h 3268876"/>
              <a:gd name="connsiteX6" fmla="*/ 75435 w 6457064"/>
              <a:gd name="connsiteY6" fmla="*/ 167026 h 3268876"/>
              <a:gd name="connsiteX7" fmla="*/ 405429 w 6457064"/>
              <a:gd name="connsiteY7" fmla="*/ 121 h 3268876"/>
              <a:gd name="connsiteX0" fmla="*/ 2142273 w 6548504"/>
              <a:gd name="connsiteY0" fmla="*/ 3268876 h 3268876"/>
              <a:gd name="connsiteX1" fmla="*/ 0 w 6548504"/>
              <a:gd name="connsiteY1" fmla="*/ 3268876 h 3268876"/>
              <a:gd name="connsiteX2" fmla="*/ 0 w 6548504"/>
              <a:gd name="connsiteY2" fmla="*/ 540587 h 3268876"/>
              <a:gd name="connsiteX3" fmla="*/ 75435 w 6548504"/>
              <a:gd name="connsiteY3" fmla="*/ 167026 h 3268876"/>
              <a:gd name="connsiteX4" fmla="*/ 405429 w 6548504"/>
              <a:gd name="connsiteY4" fmla="*/ 121 h 3268876"/>
              <a:gd name="connsiteX5" fmla="*/ 565759 w 6548504"/>
              <a:gd name="connsiteY5" fmla="*/ 3595 h 3268876"/>
              <a:gd name="connsiteX6" fmla="*/ 6548504 w 6548504"/>
              <a:gd name="connsiteY6" fmla="*/ 95035 h 3268876"/>
              <a:gd name="connsiteX0" fmla="*/ 2142273 w 6459604"/>
              <a:gd name="connsiteY0" fmla="*/ 3288141 h 3288141"/>
              <a:gd name="connsiteX1" fmla="*/ 0 w 6459604"/>
              <a:gd name="connsiteY1" fmla="*/ 3288141 h 3288141"/>
              <a:gd name="connsiteX2" fmla="*/ 0 w 6459604"/>
              <a:gd name="connsiteY2" fmla="*/ 559852 h 3288141"/>
              <a:gd name="connsiteX3" fmla="*/ 75435 w 6459604"/>
              <a:gd name="connsiteY3" fmla="*/ 186291 h 3288141"/>
              <a:gd name="connsiteX4" fmla="*/ 405429 w 6459604"/>
              <a:gd name="connsiteY4" fmla="*/ 19386 h 3288141"/>
              <a:gd name="connsiteX5" fmla="*/ 565759 w 6459604"/>
              <a:gd name="connsiteY5" fmla="*/ 22860 h 3288141"/>
              <a:gd name="connsiteX6" fmla="*/ 6459604 w 6459604"/>
              <a:gd name="connsiteY6" fmla="*/ 0 h 3288141"/>
              <a:gd name="connsiteX0" fmla="*/ 0 w 6459604"/>
              <a:gd name="connsiteY0" fmla="*/ 3288141 h 3288141"/>
              <a:gd name="connsiteX1" fmla="*/ 0 w 6459604"/>
              <a:gd name="connsiteY1" fmla="*/ 559852 h 3288141"/>
              <a:gd name="connsiteX2" fmla="*/ 75435 w 6459604"/>
              <a:gd name="connsiteY2" fmla="*/ 186291 h 3288141"/>
              <a:gd name="connsiteX3" fmla="*/ 405429 w 6459604"/>
              <a:gd name="connsiteY3" fmla="*/ 19386 h 3288141"/>
              <a:gd name="connsiteX4" fmla="*/ 565759 w 6459604"/>
              <a:gd name="connsiteY4" fmla="*/ 22860 h 3288141"/>
              <a:gd name="connsiteX5" fmla="*/ 6459604 w 6459604"/>
              <a:gd name="connsiteY5" fmla="*/ 0 h 328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9604" h="3288141">
                <a:moveTo>
                  <a:pt x="0" y="3288141"/>
                </a:moveTo>
                <a:lnTo>
                  <a:pt x="0" y="559852"/>
                </a:lnTo>
                <a:cubicBezTo>
                  <a:pt x="25145" y="435332"/>
                  <a:pt x="-38994" y="568702"/>
                  <a:pt x="75435" y="186291"/>
                </a:cubicBezTo>
                <a:cubicBezTo>
                  <a:pt x="264389" y="37113"/>
                  <a:pt x="333213" y="17456"/>
                  <a:pt x="405429" y="19386"/>
                </a:cubicBezTo>
                <a:cubicBezTo>
                  <a:pt x="448758" y="20544"/>
                  <a:pt x="493308" y="29473"/>
                  <a:pt x="565759" y="22860"/>
                </a:cubicBezTo>
                <a:lnTo>
                  <a:pt x="6459604" y="0"/>
                </a:lnTo>
              </a:path>
            </a:pathLst>
          </a:custGeom>
          <a:noFill/>
          <a:ln w="12700" cap="rnd">
            <a:solidFill>
              <a:srgbClr val="242E5E"/>
            </a:solidFill>
            <a:prstDash val="solid"/>
            <a:round/>
            <a:headEnd type="none"/>
            <a:tailEnd type="none"/>
          </a:ln>
        </p:spPr>
        <p:txBody>
          <a:bodyPr wrap="square" rtlCol="0" anchor="ctr">
            <a:noAutofit/>
          </a:bodyPr>
          <a:lstStyle/>
          <a:p>
            <a:pPr defTabSz="914400"/>
            <a:endParaRPr lang="en-GB" sz="1801">
              <a:solidFill>
                <a:srgbClr val="000000"/>
              </a:solidFill>
              <a:latin typeface="Verdana" panose="020B0604030504040204" pitchFamily="34" charset="0"/>
              <a:ea typeface="Verdana" panose="020B0604030504040204" pitchFamily="34" charset="0"/>
            </a:endParaRPr>
          </a:p>
        </p:txBody>
      </p:sp>
      <p:sp>
        <p:nvSpPr>
          <p:cNvPr id="4" name="Rektangel 15">
            <a:extLst>
              <a:ext uri="{FF2B5EF4-FFF2-40B4-BE49-F238E27FC236}">
                <a16:creationId xmlns:a16="http://schemas.microsoft.com/office/drawing/2014/main" id="{6522EB6C-51A3-4E58-2776-61E7BA7BFD19}"/>
              </a:ext>
            </a:extLst>
          </p:cNvPr>
          <p:cNvSpPr/>
          <p:nvPr/>
        </p:nvSpPr>
        <p:spPr>
          <a:xfrm>
            <a:off x="5717588" y="2175682"/>
            <a:ext cx="6205706" cy="3754855"/>
          </a:xfrm>
          <a:prstGeom prst="rect">
            <a:avLst/>
          </a:prstGeom>
          <a:noFill/>
          <a:ln w="12700">
            <a:no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da-DK" sz="1100" i="1" dirty="0">
                <a:solidFill>
                  <a:schemeClr val="bg1">
                    <a:lumMod val="50000"/>
                  </a:schemeClr>
                </a:solidFill>
                <a:latin typeface="Verdana" panose="020B0604030504040204" pitchFamily="34" charset="0"/>
                <a:ea typeface="Verdana" panose="020B0604030504040204" pitchFamily="34" charset="0"/>
              </a:rPr>
              <a:t>I dette afsnit kan I beskrive, hvordan boligorganisationen arbejder for at sikre en ansvarlig ledelse og drift. </a:t>
            </a:r>
          </a:p>
          <a:p>
            <a:endParaRPr lang="da-DK" sz="1100" i="1" dirty="0">
              <a:solidFill>
                <a:schemeClr val="bg1">
                  <a:lumMod val="50000"/>
                </a:schemeClr>
              </a:solidFill>
              <a:latin typeface="Verdana" panose="020B0604030504040204" pitchFamily="34" charset="0"/>
              <a:ea typeface="Verdana" panose="020B0604030504040204" pitchFamily="34" charset="0"/>
            </a:endParaRPr>
          </a:p>
          <a:p>
            <a:r>
              <a:rPr lang="da-DK" sz="1100" i="1" dirty="0">
                <a:solidFill>
                  <a:schemeClr val="bg1">
                    <a:lumMod val="50000"/>
                  </a:schemeClr>
                </a:solidFill>
                <a:latin typeface="Verdana" panose="020B0604030504040204" pitchFamily="34" charset="0"/>
                <a:ea typeface="Verdana" panose="020B0604030504040204" pitchFamily="34" charset="0"/>
              </a:rPr>
              <a:t>Det kan I gøre ved at:</a:t>
            </a:r>
          </a:p>
          <a:p>
            <a:endParaRPr lang="da-DK" sz="1100" i="1" dirty="0">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i="1" dirty="0">
                <a:solidFill>
                  <a:schemeClr val="bg1">
                    <a:lumMod val="50000"/>
                  </a:schemeClr>
                </a:solidFill>
                <a:latin typeface="Verdana" panose="020B0604030504040204" pitchFamily="34" charset="0"/>
                <a:ea typeface="Verdana" panose="020B0604030504040204" pitchFamily="34" charset="0"/>
              </a:rPr>
              <a:t>Beskrive hvilke politikker I har valgt at arbejde med, hvorfor de er vigtige for jeres organisation. </a:t>
            </a:r>
            <a:r>
              <a:rPr lang="da-DK" sz="1100" i="1" dirty="0">
                <a:solidFill>
                  <a:schemeClr val="bg1">
                    <a:lumMod val="50000"/>
                  </a:schemeClr>
                </a:solidFill>
                <a:latin typeface="Verdana" panose="020B0604030504040204" pitchFamily="34" charset="0"/>
                <a:ea typeface="Verdana" panose="020B0604030504040204" pitchFamily="34" charset="0"/>
                <a:cs typeface="+mn-lt"/>
              </a:rPr>
              <a:t>I denne sammenhæng betyder </a:t>
            </a:r>
            <a:r>
              <a:rPr lang="da-DK" sz="1100" b="1" i="1" dirty="0">
                <a:solidFill>
                  <a:schemeClr val="bg1">
                    <a:lumMod val="50000"/>
                  </a:schemeClr>
                </a:solidFill>
                <a:latin typeface="Verdana" panose="020B0604030504040204" pitchFamily="34" charset="0"/>
                <a:ea typeface="Verdana" panose="020B0604030504040204" pitchFamily="34" charset="0"/>
                <a:cs typeface="+mn-lt"/>
              </a:rPr>
              <a:t>politikker</a:t>
            </a:r>
            <a:r>
              <a:rPr lang="da-DK" sz="1100" i="1" dirty="0">
                <a:solidFill>
                  <a:schemeClr val="bg1">
                    <a:lumMod val="50000"/>
                  </a:schemeClr>
                </a:solidFill>
                <a:latin typeface="Verdana" panose="020B0604030504040204" pitchFamily="34" charset="0"/>
                <a:ea typeface="Verdana" panose="020B0604030504040204" pitchFamily="34" charset="0"/>
                <a:cs typeface="+mn-lt"/>
              </a:rPr>
              <a:t> de overordnede retningslinjer eller principper, som boligorganisationen har vedtaget for at styre arbejdet inden for bestemte områder – fx indkøb, sociale klausuler eller bæredygtighed. De viser, hvad organisationen står for, og hvordan den vil handle, så der skabes klarhed, ansvarlighed og ensartet praksis på tværs af organisationen.</a:t>
            </a:r>
            <a:endParaRPr lang="da-DK" sz="1100" i="1" dirty="0">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i="1" dirty="0">
                <a:solidFill>
                  <a:schemeClr val="bg1">
                    <a:lumMod val="50000"/>
                  </a:schemeClr>
                </a:solidFill>
                <a:latin typeface="Verdana" panose="020B0604030504040204" pitchFamily="34" charset="0"/>
                <a:ea typeface="Verdana" panose="020B0604030504040204" pitchFamily="34" charset="0"/>
              </a:rPr>
              <a:t>Beskrive, hvordan I følger op på og dokumenterer efterlevelsen af politikkerne.</a:t>
            </a:r>
          </a:p>
          <a:p>
            <a:pPr marL="171450" indent="-171450">
              <a:buFont typeface="Arial" panose="020B0604020202020204" pitchFamily="34" charset="0"/>
              <a:buChar cha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i="1" dirty="0">
                <a:solidFill>
                  <a:schemeClr val="bg1">
                    <a:lumMod val="50000"/>
                  </a:schemeClr>
                </a:solidFill>
                <a:latin typeface="Verdana" panose="020B0604030504040204" pitchFamily="34" charset="0"/>
                <a:ea typeface="Verdana" panose="020B0604030504040204" pitchFamily="34" charset="0"/>
              </a:rPr>
              <a:t>Beskrive, hvordan I sikrer overholdelse af gældende love og regler, herunder jeres væsentligste processer for kontrol, rapportering og eventuel håndtering af afvigelser.</a:t>
            </a:r>
          </a:p>
          <a:p>
            <a:endParaRPr lang="da-DK" sz="1100" i="1" dirty="0">
              <a:solidFill>
                <a:schemeClr val="bg1">
                  <a:lumMod val="50000"/>
                </a:schemeClr>
              </a:solidFill>
              <a:latin typeface="Verdana" panose="020B0604030504040204" pitchFamily="34" charset="0"/>
              <a:ea typeface="Verdana" panose="020B0604030504040204" pitchFamily="34" charset="0"/>
            </a:endParaRPr>
          </a:p>
          <a:p>
            <a:r>
              <a:rPr lang="da-DK" sz="1100" i="1" dirty="0">
                <a:solidFill>
                  <a:schemeClr val="bg1">
                    <a:lumMod val="50000"/>
                  </a:schemeClr>
                </a:solidFill>
                <a:latin typeface="Verdana" panose="020B0604030504040204" pitchFamily="34" charset="0"/>
                <a:ea typeface="Verdana" panose="020B0604030504040204" pitchFamily="34" charset="0"/>
              </a:rPr>
              <a:t>Formålet er at give et klart billede af, hvordan organisationen arbejder systematisk og transparent med Governance.</a:t>
            </a:r>
          </a:p>
          <a:p>
            <a:pPr marL="342900" lvl="0" indent="-342900">
              <a:buFont typeface="Arial" pitchFamily="2" charset="2"/>
              <a:buChar char="•"/>
            </a:pPr>
            <a:endPar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779949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792CE-4D94-40A0-1EC2-8D03D02508BE}"/>
            </a:ext>
          </a:extLst>
        </p:cNvPr>
        <p:cNvGrpSpPr/>
        <p:nvPr/>
      </p:nvGrpSpPr>
      <p:grpSpPr>
        <a:xfrm>
          <a:off x="0" y="0"/>
          <a:ext cx="0" cy="0"/>
          <a:chOff x="0" y="0"/>
          <a:chExt cx="0" cy="0"/>
        </a:xfrm>
      </p:grpSpPr>
      <p:sp>
        <p:nvSpPr>
          <p:cNvPr id="32" name="Title 1">
            <a:extLst>
              <a:ext uri="{FF2B5EF4-FFF2-40B4-BE49-F238E27FC236}">
                <a16:creationId xmlns:a16="http://schemas.microsoft.com/office/drawing/2014/main" id="{FA67E805-1C4D-5916-CCCE-28613E73A2C0}"/>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Målsætninger for [målepunkt] og [målepunkt]</a:t>
            </a:r>
            <a:endParaRPr lang="da-DK" sz="4000" dirty="0">
              <a:solidFill>
                <a:srgbClr val="005850"/>
              </a:solidFill>
              <a:latin typeface="Verdana" panose="020B0604030504040204" pitchFamily="34" charset="0"/>
              <a:ea typeface="Verdana" panose="020B0604030504040204" pitchFamily="34" charset="0"/>
            </a:endParaRPr>
          </a:p>
        </p:txBody>
      </p:sp>
      <p:sp>
        <p:nvSpPr>
          <p:cNvPr id="2" name="Rectangle 1">
            <a:extLst>
              <a:ext uri="{FF2B5EF4-FFF2-40B4-BE49-F238E27FC236}">
                <a16:creationId xmlns:a16="http://schemas.microsoft.com/office/drawing/2014/main" id="{D9C300E5-F94E-3553-37DA-92FD5B18BFD5}"/>
              </a:ext>
            </a:extLst>
          </p:cNvPr>
          <p:cNvSpPr/>
          <p:nvPr/>
        </p:nvSpPr>
        <p:spPr>
          <a:xfrm>
            <a:off x="1116010" y="2022700"/>
            <a:ext cx="5115998" cy="4335238"/>
          </a:xfrm>
          <a:prstGeom prst="rect">
            <a:avLst/>
          </a:prstGeom>
          <a:solidFill>
            <a:srgbClr val="97A2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27" name="Rectangle: Rounded Corners 26">
            <a:extLst>
              <a:ext uri="{FF2B5EF4-FFF2-40B4-BE49-F238E27FC236}">
                <a16:creationId xmlns:a16="http://schemas.microsoft.com/office/drawing/2014/main" id="{B9F6B096-4079-F395-663B-C13CD713D552}"/>
              </a:ext>
            </a:extLst>
          </p:cNvPr>
          <p:cNvSpPr/>
          <p:nvPr/>
        </p:nvSpPr>
        <p:spPr>
          <a:xfrm>
            <a:off x="985520" y="2313135"/>
            <a:ext cx="10623124" cy="1849941"/>
          </a:xfrm>
          <a:custGeom>
            <a:avLst/>
            <a:gdLst>
              <a:gd name="connsiteX0" fmla="*/ 0 w 10623124"/>
              <a:gd name="connsiteY0" fmla="*/ 0 h 1849941"/>
              <a:gd name="connsiteX1" fmla="*/ 0 w 10623124"/>
              <a:gd name="connsiteY1" fmla="*/ 0 h 1849941"/>
              <a:gd name="connsiteX2" fmla="*/ 770176 w 10623124"/>
              <a:gd name="connsiteY2" fmla="*/ 0 h 1849941"/>
              <a:gd name="connsiteX3" fmla="*/ 1327891 w 10623124"/>
              <a:gd name="connsiteY3" fmla="*/ 0 h 1849941"/>
              <a:gd name="connsiteX4" fmla="*/ 1991836 w 10623124"/>
              <a:gd name="connsiteY4" fmla="*/ 0 h 1849941"/>
              <a:gd name="connsiteX5" fmla="*/ 2443319 w 10623124"/>
              <a:gd name="connsiteY5" fmla="*/ 0 h 1849941"/>
              <a:gd name="connsiteX6" fmla="*/ 2894801 w 10623124"/>
              <a:gd name="connsiteY6" fmla="*/ 0 h 1849941"/>
              <a:gd name="connsiteX7" fmla="*/ 3240053 w 10623124"/>
              <a:gd name="connsiteY7" fmla="*/ 0 h 1849941"/>
              <a:gd name="connsiteX8" fmla="*/ 4010229 w 10623124"/>
              <a:gd name="connsiteY8" fmla="*/ 0 h 1849941"/>
              <a:gd name="connsiteX9" fmla="*/ 4886637 w 10623124"/>
              <a:gd name="connsiteY9" fmla="*/ 0 h 1849941"/>
              <a:gd name="connsiteX10" fmla="*/ 5231889 w 10623124"/>
              <a:gd name="connsiteY10" fmla="*/ 0 h 1849941"/>
              <a:gd name="connsiteX11" fmla="*/ 5895834 w 10623124"/>
              <a:gd name="connsiteY11" fmla="*/ 0 h 1849941"/>
              <a:gd name="connsiteX12" fmla="*/ 6241085 w 10623124"/>
              <a:gd name="connsiteY12" fmla="*/ 0 h 1849941"/>
              <a:gd name="connsiteX13" fmla="*/ 7011262 w 10623124"/>
              <a:gd name="connsiteY13" fmla="*/ 0 h 1849941"/>
              <a:gd name="connsiteX14" fmla="*/ 7356513 w 10623124"/>
              <a:gd name="connsiteY14" fmla="*/ 0 h 1849941"/>
              <a:gd name="connsiteX15" fmla="*/ 7807996 w 10623124"/>
              <a:gd name="connsiteY15" fmla="*/ 0 h 1849941"/>
              <a:gd name="connsiteX16" fmla="*/ 8578173 w 10623124"/>
              <a:gd name="connsiteY16" fmla="*/ 0 h 1849941"/>
              <a:gd name="connsiteX17" fmla="*/ 8923424 w 10623124"/>
              <a:gd name="connsiteY17" fmla="*/ 0 h 1849941"/>
              <a:gd name="connsiteX18" fmla="*/ 9481138 w 10623124"/>
              <a:gd name="connsiteY18" fmla="*/ 0 h 1849941"/>
              <a:gd name="connsiteX19" fmla="*/ 10038852 w 10623124"/>
              <a:gd name="connsiteY19" fmla="*/ 0 h 1849941"/>
              <a:gd name="connsiteX20" fmla="*/ 10623124 w 10623124"/>
              <a:gd name="connsiteY20" fmla="*/ 0 h 1849941"/>
              <a:gd name="connsiteX21" fmla="*/ 10623124 w 10623124"/>
              <a:gd name="connsiteY21" fmla="*/ 0 h 1849941"/>
              <a:gd name="connsiteX22" fmla="*/ 10623124 w 10623124"/>
              <a:gd name="connsiteY22" fmla="*/ 561149 h 1849941"/>
              <a:gd name="connsiteX23" fmla="*/ 10623124 w 10623124"/>
              <a:gd name="connsiteY23" fmla="*/ 1122298 h 1849941"/>
              <a:gd name="connsiteX24" fmla="*/ 10623124 w 10623124"/>
              <a:gd name="connsiteY24" fmla="*/ 1849941 h 1849941"/>
              <a:gd name="connsiteX25" fmla="*/ 10623124 w 10623124"/>
              <a:gd name="connsiteY25" fmla="*/ 1849941 h 1849941"/>
              <a:gd name="connsiteX26" fmla="*/ 9959179 w 10623124"/>
              <a:gd name="connsiteY26" fmla="*/ 1849941 h 1849941"/>
              <a:gd name="connsiteX27" fmla="*/ 9189002 w 10623124"/>
              <a:gd name="connsiteY27" fmla="*/ 1849941 h 1849941"/>
              <a:gd name="connsiteX28" fmla="*/ 8312595 w 10623124"/>
              <a:gd name="connsiteY28" fmla="*/ 1849941 h 1849941"/>
              <a:gd name="connsiteX29" fmla="*/ 7436187 w 10623124"/>
              <a:gd name="connsiteY29" fmla="*/ 1849941 h 1849941"/>
              <a:gd name="connsiteX30" fmla="*/ 6666010 w 10623124"/>
              <a:gd name="connsiteY30" fmla="*/ 1849941 h 1849941"/>
              <a:gd name="connsiteX31" fmla="*/ 5789603 w 10623124"/>
              <a:gd name="connsiteY31" fmla="*/ 1849941 h 1849941"/>
              <a:gd name="connsiteX32" fmla="*/ 5444351 w 10623124"/>
              <a:gd name="connsiteY32" fmla="*/ 1849941 h 1849941"/>
              <a:gd name="connsiteX33" fmla="*/ 4780406 w 10623124"/>
              <a:gd name="connsiteY33" fmla="*/ 1849941 h 1849941"/>
              <a:gd name="connsiteX34" fmla="*/ 4435154 w 10623124"/>
              <a:gd name="connsiteY34" fmla="*/ 1849941 h 1849941"/>
              <a:gd name="connsiteX35" fmla="*/ 3877440 w 10623124"/>
              <a:gd name="connsiteY35" fmla="*/ 1849941 h 1849941"/>
              <a:gd name="connsiteX36" fmla="*/ 3532189 w 10623124"/>
              <a:gd name="connsiteY36" fmla="*/ 1849941 h 1849941"/>
              <a:gd name="connsiteX37" fmla="*/ 2762012 w 10623124"/>
              <a:gd name="connsiteY37" fmla="*/ 1849941 h 1849941"/>
              <a:gd name="connsiteX38" fmla="*/ 2416761 w 10623124"/>
              <a:gd name="connsiteY38" fmla="*/ 1849941 h 1849941"/>
              <a:gd name="connsiteX39" fmla="*/ 2071509 w 10623124"/>
              <a:gd name="connsiteY39" fmla="*/ 1849941 h 1849941"/>
              <a:gd name="connsiteX40" fmla="*/ 1407564 w 10623124"/>
              <a:gd name="connsiteY40" fmla="*/ 1849941 h 1849941"/>
              <a:gd name="connsiteX41" fmla="*/ 1062312 w 10623124"/>
              <a:gd name="connsiteY41" fmla="*/ 1849941 h 1849941"/>
              <a:gd name="connsiteX42" fmla="*/ 0 w 10623124"/>
              <a:gd name="connsiteY42" fmla="*/ 1849941 h 1849941"/>
              <a:gd name="connsiteX43" fmla="*/ 0 w 10623124"/>
              <a:gd name="connsiteY43" fmla="*/ 1849941 h 1849941"/>
              <a:gd name="connsiteX44" fmla="*/ 0 w 10623124"/>
              <a:gd name="connsiteY44" fmla="*/ 1288792 h 1849941"/>
              <a:gd name="connsiteX45" fmla="*/ 0 w 10623124"/>
              <a:gd name="connsiteY45" fmla="*/ 727643 h 1849941"/>
              <a:gd name="connsiteX46" fmla="*/ 0 w 10623124"/>
              <a:gd name="connsiteY46" fmla="*/ 0 h 184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623124" h="1849941" fill="none" extrusionOk="0">
                <a:moveTo>
                  <a:pt x="0" y="0"/>
                </a:moveTo>
                <a:lnTo>
                  <a:pt x="0" y="0"/>
                </a:lnTo>
                <a:cubicBezTo>
                  <a:pt x="179565" y="-12364"/>
                  <a:pt x="564079" y="9309"/>
                  <a:pt x="770176" y="0"/>
                </a:cubicBezTo>
                <a:cubicBezTo>
                  <a:pt x="976273" y="-9309"/>
                  <a:pt x="1166553" y="5080"/>
                  <a:pt x="1327891" y="0"/>
                </a:cubicBezTo>
                <a:cubicBezTo>
                  <a:pt x="1489229" y="-5080"/>
                  <a:pt x="1711165" y="-13672"/>
                  <a:pt x="1991836" y="0"/>
                </a:cubicBezTo>
                <a:cubicBezTo>
                  <a:pt x="2272507" y="13672"/>
                  <a:pt x="2254889" y="-18881"/>
                  <a:pt x="2443319" y="0"/>
                </a:cubicBezTo>
                <a:cubicBezTo>
                  <a:pt x="2631749" y="18881"/>
                  <a:pt x="2747716" y="9640"/>
                  <a:pt x="2894801" y="0"/>
                </a:cubicBezTo>
                <a:cubicBezTo>
                  <a:pt x="3041886" y="-9640"/>
                  <a:pt x="3161556" y="226"/>
                  <a:pt x="3240053" y="0"/>
                </a:cubicBezTo>
                <a:cubicBezTo>
                  <a:pt x="3318550" y="-226"/>
                  <a:pt x="3649806" y="-9361"/>
                  <a:pt x="4010229" y="0"/>
                </a:cubicBezTo>
                <a:cubicBezTo>
                  <a:pt x="4370652" y="9361"/>
                  <a:pt x="4531510" y="-26184"/>
                  <a:pt x="4886637" y="0"/>
                </a:cubicBezTo>
                <a:cubicBezTo>
                  <a:pt x="5241764" y="26184"/>
                  <a:pt x="5089164" y="4804"/>
                  <a:pt x="5231889" y="0"/>
                </a:cubicBezTo>
                <a:cubicBezTo>
                  <a:pt x="5374614" y="-4804"/>
                  <a:pt x="5691844" y="-32510"/>
                  <a:pt x="5895834" y="0"/>
                </a:cubicBezTo>
                <a:cubicBezTo>
                  <a:pt x="6099824" y="32510"/>
                  <a:pt x="6163915" y="-9325"/>
                  <a:pt x="6241085" y="0"/>
                </a:cubicBezTo>
                <a:cubicBezTo>
                  <a:pt x="6318255" y="9325"/>
                  <a:pt x="6664936" y="6104"/>
                  <a:pt x="7011262" y="0"/>
                </a:cubicBezTo>
                <a:cubicBezTo>
                  <a:pt x="7357588" y="-6104"/>
                  <a:pt x="7283737" y="-16869"/>
                  <a:pt x="7356513" y="0"/>
                </a:cubicBezTo>
                <a:cubicBezTo>
                  <a:pt x="7429289" y="16869"/>
                  <a:pt x="7584136" y="18179"/>
                  <a:pt x="7807996" y="0"/>
                </a:cubicBezTo>
                <a:cubicBezTo>
                  <a:pt x="8031856" y="-18179"/>
                  <a:pt x="8303279" y="-21355"/>
                  <a:pt x="8578173" y="0"/>
                </a:cubicBezTo>
                <a:cubicBezTo>
                  <a:pt x="8853067" y="21355"/>
                  <a:pt x="8796397" y="-7729"/>
                  <a:pt x="8923424" y="0"/>
                </a:cubicBezTo>
                <a:cubicBezTo>
                  <a:pt x="9050451" y="7729"/>
                  <a:pt x="9342386" y="1773"/>
                  <a:pt x="9481138" y="0"/>
                </a:cubicBezTo>
                <a:cubicBezTo>
                  <a:pt x="9619890" y="-1773"/>
                  <a:pt x="9762348" y="19550"/>
                  <a:pt x="10038852" y="0"/>
                </a:cubicBezTo>
                <a:cubicBezTo>
                  <a:pt x="10315356" y="-19550"/>
                  <a:pt x="10413379" y="22843"/>
                  <a:pt x="10623124" y="0"/>
                </a:cubicBezTo>
                <a:lnTo>
                  <a:pt x="10623124" y="0"/>
                </a:lnTo>
                <a:cubicBezTo>
                  <a:pt x="10604702" y="228184"/>
                  <a:pt x="10645663" y="353222"/>
                  <a:pt x="10623124" y="561149"/>
                </a:cubicBezTo>
                <a:cubicBezTo>
                  <a:pt x="10600585" y="769076"/>
                  <a:pt x="10643394" y="923488"/>
                  <a:pt x="10623124" y="1122298"/>
                </a:cubicBezTo>
                <a:cubicBezTo>
                  <a:pt x="10602854" y="1321108"/>
                  <a:pt x="10606320" y="1588223"/>
                  <a:pt x="10623124" y="1849941"/>
                </a:cubicBezTo>
                <a:lnTo>
                  <a:pt x="10623124" y="1849941"/>
                </a:lnTo>
                <a:cubicBezTo>
                  <a:pt x="10308411" y="1853597"/>
                  <a:pt x="10102221" y="1859973"/>
                  <a:pt x="9959179" y="1849941"/>
                </a:cubicBezTo>
                <a:cubicBezTo>
                  <a:pt x="9816137" y="1839909"/>
                  <a:pt x="9461845" y="1885266"/>
                  <a:pt x="9189002" y="1849941"/>
                </a:cubicBezTo>
                <a:cubicBezTo>
                  <a:pt x="8916159" y="1814616"/>
                  <a:pt x="8705939" y="1829521"/>
                  <a:pt x="8312595" y="1849941"/>
                </a:cubicBezTo>
                <a:cubicBezTo>
                  <a:pt x="7919251" y="1870361"/>
                  <a:pt x="7727485" y="1835478"/>
                  <a:pt x="7436187" y="1849941"/>
                </a:cubicBezTo>
                <a:cubicBezTo>
                  <a:pt x="7144889" y="1864404"/>
                  <a:pt x="6934389" y="1852537"/>
                  <a:pt x="6666010" y="1849941"/>
                </a:cubicBezTo>
                <a:cubicBezTo>
                  <a:pt x="6397631" y="1847345"/>
                  <a:pt x="6048436" y="1853263"/>
                  <a:pt x="5789603" y="1849941"/>
                </a:cubicBezTo>
                <a:cubicBezTo>
                  <a:pt x="5530770" y="1846619"/>
                  <a:pt x="5576857" y="1841566"/>
                  <a:pt x="5444351" y="1849941"/>
                </a:cubicBezTo>
                <a:cubicBezTo>
                  <a:pt x="5311845" y="1858316"/>
                  <a:pt x="5026903" y="1881159"/>
                  <a:pt x="4780406" y="1849941"/>
                </a:cubicBezTo>
                <a:cubicBezTo>
                  <a:pt x="4533909" y="1818723"/>
                  <a:pt x="4515711" y="1835244"/>
                  <a:pt x="4435154" y="1849941"/>
                </a:cubicBezTo>
                <a:cubicBezTo>
                  <a:pt x="4354597" y="1864638"/>
                  <a:pt x="4006695" y="1849683"/>
                  <a:pt x="3877440" y="1849941"/>
                </a:cubicBezTo>
                <a:cubicBezTo>
                  <a:pt x="3748185" y="1850199"/>
                  <a:pt x="3704276" y="1861594"/>
                  <a:pt x="3532189" y="1849941"/>
                </a:cubicBezTo>
                <a:cubicBezTo>
                  <a:pt x="3360102" y="1838288"/>
                  <a:pt x="2930165" y="1866550"/>
                  <a:pt x="2762012" y="1849941"/>
                </a:cubicBezTo>
                <a:cubicBezTo>
                  <a:pt x="2593859" y="1833332"/>
                  <a:pt x="2549261" y="1862003"/>
                  <a:pt x="2416761" y="1849941"/>
                </a:cubicBezTo>
                <a:cubicBezTo>
                  <a:pt x="2284261" y="1837879"/>
                  <a:pt x="2242363" y="1859330"/>
                  <a:pt x="2071509" y="1849941"/>
                </a:cubicBezTo>
                <a:cubicBezTo>
                  <a:pt x="1900655" y="1840552"/>
                  <a:pt x="1631973" y="1835236"/>
                  <a:pt x="1407564" y="1849941"/>
                </a:cubicBezTo>
                <a:cubicBezTo>
                  <a:pt x="1183156" y="1864646"/>
                  <a:pt x="1201090" y="1840783"/>
                  <a:pt x="1062312" y="1849941"/>
                </a:cubicBezTo>
                <a:cubicBezTo>
                  <a:pt x="923534" y="1859099"/>
                  <a:pt x="414124" y="1804747"/>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4" h="1849941" stroke="0" extrusionOk="0">
                <a:moveTo>
                  <a:pt x="0" y="0"/>
                </a:moveTo>
                <a:lnTo>
                  <a:pt x="0" y="0"/>
                </a:lnTo>
                <a:cubicBezTo>
                  <a:pt x="355116" y="3983"/>
                  <a:pt x="594171" y="1200"/>
                  <a:pt x="770176" y="0"/>
                </a:cubicBezTo>
                <a:cubicBezTo>
                  <a:pt x="946181" y="-1200"/>
                  <a:pt x="954404" y="-161"/>
                  <a:pt x="1115428" y="0"/>
                </a:cubicBezTo>
                <a:cubicBezTo>
                  <a:pt x="1276452" y="161"/>
                  <a:pt x="1422520" y="5265"/>
                  <a:pt x="1673142" y="0"/>
                </a:cubicBezTo>
                <a:cubicBezTo>
                  <a:pt x="1923764" y="-5265"/>
                  <a:pt x="1972363" y="3662"/>
                  <a:pt x="2124625" y="0"/>
                </a:cubicBezTo>
                <a:cubicBezTo>
                  <a:pt x="2276887" y="-3662"/>
                  <a:pt x="2312049" y="2082"/>
                  <a:pt x="2469876" y="0"/>
                </a:cubicBezTo>
                <a:cubicBezTo>
                  <a:pt x="2627703" y="-2082"/>
                  <a:pt x="2737560" y="4189"/>
                  <a:pt x="2921359" y="0"/>
                </a:cubicBezTo>
                <a:cubicBezTo>
                  <a:pt x="3105158" y="-4189"/>
                  <a:pt x="3234743" y="22542"/>
                  <a:pt x="3372842" y="0"/>
                </a:cubicBezTo>
                <a:cubicBezTo>
                  <a:pt x="3510941" y="-22542"/>
                  <a:pt x="3738839" y="-21056"/>
                  <a:pt x="3930556" y="0"/>
                </a:cubicBezTo>
                <a:cubicBezTo>
                  <a:pt x="4122273" y="21056"/>
                  <a:pt x="4342746" y="-19994"/>
                  <a:pt x="4700732" y="0"/>
                </a:cubicBezTo>
                <a:cubicBezTo>
                  <a:pt x="5058718" y="19994"/>
                  <a:pt x="5091659" y="14119"/>
                  <a:pt x="5258446" y="0"/>
                </a:cubicBezTo>
                <a:cubicBezTo>
                  <a:pt x="5425233" y="-14119"/>
                  <a:pt x="5836539" y="-18180"/>
                  <a:pt x="6134854" y="0"/>
                </a:cubicBezTo>
                <a:cubicBezTo>
                  <a:pt x="6433169" y="18180"/>
                  <a:pt x="6335729" y="-13066"/>
                  <a:pt x="6480106" y="0"/>
                </a:cubicBezTo>
                <a:cubicBezTo>
                  <a:pt x="6624483" y="13066"/>
                  <a:pt x="6911049" y="-21879"/>
                  <a:pt x="7250282" y="0"/>
                </a:cubicBezTo>
                <a:cubicBezTo>
                  <a:pt x="7589515" y="21879"/>
                  <a:pt x="7500710" y="-7088"/>
                  <a:pt x="7701765" y="0"/>
                </a:cubicBezTo>
                <a:cubicBezTo>
                  <a:pt x="7902820" y="7088"/>
                  <a:pt x="8248208" y="11902"/>
                  <a:pt x="8471941" y="0"/>
                </a:cubicBezTo>
                <a:cubicBezTo>
                  <a:pt x="8695674" y="-11902"/>
                  <a:pt x="8769883" y="4371"/>
                  <a:pt x="8923424" y="0"/>
                </a:cubicBezTo>
                <a:cubicBezTo>
                  <a:pt x="9076965" y="-4371"/>
                  <a:pt x="9160086" y="8065"/>
                  <a:pt x="9374907" y="0"/>
                </a:cubicBezTo>
                <a:cubicBezTo>
                  <a:pt x="9589728" y="-8065"/>
                  <a:pt x="10358264" y="2455"/>
                  <a:pt x="10623124" y="0"/>
                </a:cubicBezTo>
                <a:lnTo>
                  <a:pt x="10623124" y="0"/>
                </a:lnTo>
                <a:cubicBezTo>
                  <a:pt x="10649846" y="166197"/>
                  <a:pt x="10620927" y="355982"/>
                  <a:pt x="10623124" y="635146"/>
                </a:cubicBezTo>
                <a:cubicBezTo>
                  <a:pt x="10625321" y="914310"/>
                  <a:pt x="10622709" y="964317"/>
                  <a:pt x="10623124" y="1251793"/>
                </a:cubicBezTo>
                <a:cubicBezTo>
                  <a:pt x="10623539" y="1539269"/>
                  <a:pt x="10630652" y="1630607"/>
                  <a:pt x="10623124" y="1849941"/>
                </a:cubicBezTo>
                <a:lnTo>
                  <a:pt x="10623124" y="1849941"/>
                </a:lnTo>
                <a:cubicBezTo>
                  <a:pt x="10492906" y="1828873"/>
                  <a:pt x="10329197" y="1844956"/>
                  <a:pt x="10171641" y="1849941"/>
                </a:cubicBezTo>
                <a:cubicBezTo>
                  <a:pt x="10014085" y="1854926"/>
                  <a:pt x="9642561" y="1845317"/>
                  <a:pt x="9295234" y="1849941"/>
                </a:cubicBezTo>
                <a:cubicBezTo>
                  <a:pt x="8947907" y="1854565"/>
                  <a:pt x="8827225" y="1880626"/>
                  <a:pt x="8525057" y="1849941"/>
                </a:cubicBezTo>
                <a:cubicBezTo>
                  <a:pt x="8222889" y="1819256"/>
                  <a:pt x="8011988" y="1854563"/>
                  <a:pt x="7754881" y="1849941"/>
                </a:cubicBezTo>
                <a:cubicBezTo>
                  <a:pt x="7497774" y="1845319"/>
                  <a:pt x="7054549" y="1864474"/>
                  <a:pt x="6878473" y="1849941"/>
                </a:cubicBezTo>
                <a:cubicBezTo>
                  <a:pt x="6702397" y="1835408"/>
                  <a:pt x="6554735" y="1859904"/>
                  <a:pt x="6320759" y="1849941"/>
                </a:cubicBezTo>
                <a:cubicBezTo>
                  <a:pt x="6086783" y="1839978"/>
                  <a:pt x="6003151" y="1833832"/>
                  <a:pt x="5869276" y="1849941"/>
                </a:cubicBezTo>
                <a:cubicBezTo>
                  <a:pt x="5735401" y="1866050"/>
                  <a:pt x="5575485" y="1866413"/>
                  <a:pt x="5417793" y="1849941"/>
                </a:cubicBezTo>
                <a:cubicBezTo>
                  <a:pt x="5260101" y="1833469"/>
                  <a:pt x="4934895" y="1847043"/>
                  <a:pt x="4647617" y="1849941"/>
                </a:cubicBezTo>
                <a:cubicBezTo>
                  <a:pt x="4360339" y="1852839"/>
                  <a:pt x="4110838" y="1842447"/>
                  <a:pt x="3877440" y="1849941"/>
                </a:cubicBezTo>
                <a:cubicBezTo>
                  <a:pt x="3644042" y="1857435"/>
                  <a:pt x="3548299" y="1870814"/>
                  <a:pt x="3319726" y="1849941"/>
                </a:cubicBezTo>
                <a:cubicBezTo>
                  <a:pt x="3091153" y="1829068"/>
                  <a:pt x="2913042" y="1838209"/>
                  <a:pt x="2549550" y="1849941"/>
                </a:cubicBezTo>
                <a:cubicBezTo>
                  <a:pt x="2186058" y="1861673"/>
                  <a:pt x="2367087" y="1849746"/>
                  <a:pt x="2204298" y="1849941"/>
                </a:cubicBezTo>
                <a:cubicBezTo>
                  <a:pt x="2041509" y="1850136"/>
                  <a:pt x="1754707" y="1862384"/>
                  <a:pt x="1434122" y="1849941"/>
                </a:cubicBezTo>
                <a:cubicBezTo>
                  <a:pt x="1113537" y="1837498"/>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97A2BD">
              <a:alpha val="4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51858AD1-09D6-AC0B-2DCF-9DECB23C91A4}"/>
              </a:ext>
            </a:extLst>
          </p:cNvPr>
          <p:cNvSpPr/>
          <p:nvPr/>
        </p:nvSpPr>
        <p:spPr>
          <a:xfrm rot="16200000" flipH="1">
            <a:off x="-140533" y="3037022"/>
            <a:ext cx="1849940" cy="402167"/>
          </a:xfrm>
          <a:prstGeom prst="roundRect">
            <a:avLst>
              <a:gd name="adj" fmla="val 0"/>
            </a:avLst>
          </a:prstGeom>
          <a:solidFill>
            <a:srgbClr val="97A2BD"/>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vil vi</a:t>
            </a:r>
          </a:p>
        </p:txBody>
      </p:sp>
      <p:sp>
        <p:nvSpPr>
          <p:cNvPr id="8" name="Rectangle: Rounded Corners 7">
            <a:extLst>
              <a:ext uri="{FF2B5EF4-FFF2-40B4-BE49-F238E27FC236}">
                <a16:creationId xmlns:a16="http://schemas.microsoft.com/office/drawing/2014/main" id="{3E5DDEFC-083E-2ECE-D9D7-6D9FC2F93CC9}"/>
              </a:ext>
            </a:extLst>
          </p:cNvPr>
          <p:cNvSpPr/>
          <p:nvPr/>
        </p:nvSpPr>
        <p:spPr>
          <a:xfrm>
            <a:off x="1114142" y="1737360"/>
            <a:ext cx="5123418" cy="396000"/>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13" name="Rectangle: Rounded Corners 12">
            <a:extLst>
              <a:ext uri="{FF2B5EF4-FFF2-40B4-BE49-F238E27FC236}">
                <a16:creationId xmlns:a16="http://schemas.microsoft.com/office/drawing/2014/main" id="{65A218F6-AC29-33A0-D3FD-9C451910E367}"/>
              </a:ext>
            </a:extLst>
          </p:cNvPr>
          <p:cNvSpPr/>
          <p:nvPr/>
        </p:nvSpPr>
        <p:spPr>
          <a:xfrm>
            <a:off x="985520" y="4341865"/>
            <a:ext cx="10623126" cy="1849941"/>
          </a:xfrm>
          <a:custGeom>
            <a:avLst/>
            <a:gdLst>
              <a:gd name="connsiteX0" fmla="*/ 0 w 10623126"/>
              <a:gd name="connsiteY0" fmla="*/ 0 h 1849941"/>
              <a:gd name="connsiteX1" fmla="*/ 0 w 10623126"/>
              <a:gd name="connsiteY1" fmla="*/ 0 h 1849941"/>
              <a:gd name="connsiteX2" fmla="*/ 770177 w 10623126"/>
              <a:gd name="connsiteY2" fmla="*/ 0 h 1849941"/>
              <a:gd name="connsiteX3" fmla="*/ 1327891 w 10623126"/>
              <a:gd name="connsiteY3" fmla="*/ 0 h 1849941"/>
              <a:gd name="connsiteX4" fmla="*/ 1991836 w 10623126"/>
              <a:gd name="connsiteY4" fmla="*/ 0 h 1849941"/>
              <a:gd name="connsiteX5" fmla="*/ 2443319 w 10623126"/>
              <a:gd name="connsiteY5" fmla="*/ 0 h 1849941"/>
              <a:gd name="connsiteX6" fmla="*/ 2894802 w 10623126"/>
              <a:gd name="connsiteY6" fmla="*/ 0 h 1849941"/>
              <a:gd name="connsiteX7" fmla="*/ 3240053 w 10623126"/>
              <a:gd name="connsiteY7" fmla="*/ 0 h 1849941"/>
              <a:gd name="connsiteX8" fmla="*/ 4010230 w 10623126"/>
              <a:gd name="connsiteY8" fmla="*/ 0 h 1849941"/>
              <a:gd name="connsiteX9" fmla="*/ 4886638 w 10623126"/>
              <a:gd name="connsiteY9" fmla="*/ 0 h 1849941"/>
              <a:gd name="connsiteX10" fmla="*/ 5231890 w 10623126"/>
              <a:gd name="connsiteY10" fmla="*/ 0 h 1849941"/>
              <a:gd name="connsiteX11" fmla="*/ 5895835 w 10623126"/>
              <a:gd name="connsiteY11" fmla="*/ 0 h 1849941"/>
              <a:gd name="connsiteX12" fmla="*/ 6241087 w 10623126"/>
              <a:gd name="connsiteY12" fmla="*/ 0 h 1849941"/>
              <a:gd name="connsiteX13" fmla="*/ 7011263 w 10623126"/>
              <a:gd name="connsiteY13" fmla="*/ 0 h 1849941"/>
              <a:gd name="connsiteX14" fmla="*/ 7356515 w 10623126"/>
              <a:gd name="connsiteY14" fmla="*/ 0 h 1849941"/>
              <a:gd name="connsiteX15" fmla="*/ 7807998 w 10623126"/>
              <a:gd name="connsiteY15" fmla="*/ 0 h 1849941"/>
              <a:gd name="connsiteX16" fmla="*/ 8578174 w 10623126"/>
              <a:gd name="connsiteY16" fmla="*/ 0 h 1849941"/>
              <a:gd name="connsiteX17" fmla="*/ 8923426 w 10623126"/>
              <a:gd name="connsiteY17" fmla="*/ 0 h 1849941"/>
              <a:gd name="connsiteX18" fmla="*/ 9481140 w 10623126"/>
              <a:gd name="connsiteY18" fmla="*/ 0 h 1849941"/>
              <a:gd name="connsiteX19" fmla="*/ 10038854 w 10623126"/>
              <a:gd name="connsiteY19" fmla="*/ 0 h 1849941"/>
              <a:gd name="connsiteX20" fmla="*/ 10623126 w 10623126"/>
              <a:gd name="connsiteY20" fmla="*/ 0 h 1849941"/>
              <a:gd name="connsiteX21" fmla="*/ 10623126 w 10623126"/>
              <a:gd name="connsiteY21" fmla="*/ 0 h 1849941"/>
              <a:gd name="connsiteX22" fmla="*/ 10623126 w 10623126"/>
              <a:gd name="connsiteY22" fmla="*/ 561149 h 1849941"/>
              <a:gd name="connsiteX23" fmla="*/ 10623126 w 10623126"/>
              <a:gd name="connsiteY23" fmla="*/ 1122298 h 1849941"/>
              <a:gd name="connsiteX24" fmla="*/ 10623126 w 10623126"/>
              <a:gd name="connsiteY24" fmla="*/ 1849941 h 1849941"/>
              <a:gd name="connsiteX25" fmla="*/ 10623126 w 10623126"/>
              <a:gd name="connsiteY25" fmla="*/ 1849941 h 1849941"/>
              <a:gd name="connsiteX26" fmla="*/ 9959181 w 10623126"/>
              <a:gd name="connsiteY26" fmla="*/ 1849941 h 1849941"/>
              <a:gd name="connsiteX27" fmla="*/ 9189004 w 10623126"/>
              <a:gd name="connsiteY27" fmla="*/ 1849941 h 1849941"/>
              <a:gd name="connsiteX28" fmla="*/ 8312596 w 10623126"/>
              <a:gd name="connsiteY28" fmla="*/ 1849941 h 1849941"/>
              <a:gd name="connsiteX29" fmla="*/ 7436188 w 10623126"/>
              <a:gd name="connsiteY29" fmla="*/ 1849941 h 1849941"/>
              <a:gd name="connsiteX30" fmla="*/ 6666012 w 10623126"/>
              <a:gd name="connsiteY30" fmla="*/ 1849941 h 1849941"/>
              <a:gd name="connsiteX31" fmla="*/ 5789604 w 10623126"/>
              <a:gd name="connsiteY31" fmla="*/ 1849941 h 1849941"/>
              <a:gd name="connsiteX32" fmla="*/ 5444352 w 10623126"/>
              <a:gd name="connsiteY32" fmla="*/ 1849941 h 1849941"/>
              <a:gd name="connsiteX33" fmla="*/ 4780407 w 10623126"/>
              <a:gd name="connsiteY33" fmla="*/ 1849941 h 1849941"/>
              <a:gd name="connsiteX34" fmla="*/ 4435155 w 10623126"/>
              <a:gd name="connsiteY34" fmla="*/ 1849941 h 1849941"/>
              <a:gd name="connsiteX35" fmla="*/ 3877441 w 10623126"/>
              <a:gd name="connsiteY35" fmla="*/ 1849941 h 1849941"/>
              <a:gd name="connsiteX36" fmla="*/ 3532189 w 10623126"/>
              <a:gd name="connsiteY36" fmla="*/ 1849941 h 1849941"/>
              <a:gd name="connsiteX37" fmla="*/ 2762013 w 10623126"/>
              <a:gd name="connsiteY37" fmla="*/ 1849941 h 1849941"/>
              <a:gd name="connsiteX38" fmla="*/ 2416761 w 10623126"/>
              <a:gd name="connsiteY38" fmla="*/ 1849941 h 1849941"/>
              <a:gd name="connsiteX39" fmla="*/ 2071510 w 10623126"/>
              <a:gd name="connsiteY39" fmla="*/ 1849941 h 1849941"/>
              <a:gd name="connsiteX40" fmla="*/ 1407564 w 10623126"/>
              <a:gd name="connsiteY40" fmla="*/ 1849941 h 1849941"/>
              <a:gd name="connsiteX41" fmla="*/ 1062313 w 10623126"/>
              <a:gd name="connsiteY41" fmla="*/ 1849941 h 1849941"/>
              <a:gd name="connsiteX42" fmla="*/ 0 w 10623126"/>
              <a:gd name="connsiteY42" fmla="*/ 1849941 h 1849941"/>
              <a:gd name="connsiteX43" fmla="*/ 0 w 10623126"/>
              <a:gd name="connsiteY43" fmla="*/ 1849941 h 1849941"/>
              <a:gd name="connsiteX44" fmla="*/ 0 w 10623126"/>
              <a:gd name="connsiteY44" fmla="*/ 1288792 h 1849941"/>
              <a:gd name="connsiteX45" fmla="*/ 0 w 10623126"/>
              <a:gd name="connsiteY45" fmla="*/ 727643 h 1849941"/>
              <a:gd name="connsiteX46" fmla="*/ 0 w 10623126"/>
              <a:gd name="connsiteY46" fmla="*/ 0 h 184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623126" h="1849941" fill="none" extrusionOk="0">
                <a:moveTo>
                  <a:pt x="0" y="0"/>
                </a:moveTo>
                <a:lnTo>
                  <a:pt x="0" y="0"/>
                </a:lnTo>
                <a:cubicBezTo>
                  <a:pt x="177302" y="-14941"/>
                  <a:pt x="561055" y="6843"/>
                  <a:pt x="770177" y="0"/>
                </a:cubicBezTo>
                <a:cubicBezTo>
                  <a:pt x="979299" y="-6843"/>
                  <a:pt x="1172850" y="5082"/>
                  <a:pt x="1327891" y="0"/>
                </a:cubicBezTo>
                <a:cubicBezTo>
                  <a:pt x="1482932" y="-5082"/>
                  <a:pt x="1711165" y="-13672"/>
                  <a:pt x="1991836" y="0"/>
                </a:cubicBezTo>
                <a:cubicBezTo>
                  <a:pt x="2272507" y="13672"/>
                  <a:pt x="2254889" y="-18881"/>
                  <a:pt x="2443319" y="0"/>
                </a:cubicBezTo>
                <a:cubicBezTo>
                  <a:pt x="2631749" y="18881"/>
                  <a:pt x="2740076" y="7132"/>
                  <a:pt x="2894802" y="0"/>
                </a:cubicBezTo>
                <a:cubicBezTo>
                  <a:pt x="3049528" y="-7132"/>
                  <a:pt x="3170438" y="9875"/>
                  <a:pt x="3240053" y="0"/>
                </a:cubicBezTo>
                <a:cubicBezTo>
                  <a:pt x="3309668" y="-9875"/>
                  <a:pt x="3649232" y="-13082"/>
                  <a:pt x="4010230" y="0"/>
                </a:cubicBezTo>
                <a:cubicBezTo>
                  <a:pt x="4371228" y="13082"/>
                  <a:pt x="4531511" y="-26184"/>
                  <a:pt x="4886638" y="0"/>
                </a:cubicBezTo>
                <a:cubicBezTo>
                  <a:pt x="5241765" y="26184"/>
                  <a:pt x="5089165" y="4804"/>
                  <a:pt x="5231890" y="0"/>
                </a:cubicBezTo>
                <a:cubicBezTo>
                  <a:pt x="5374615" y="-4804"/>
                  <a:pt x="5691845" y="-32510"/>
                  <a:pt x="5895835" y="0"/>
                </a:cubicBezTo>
                <a:cubicBezTo>
                  <a:pt x="6099825" y="32510"/>
                  <a:pt x="6158760" y="-13962"/>
                  <a:pt x="6241087" y="0"/>
                </a:cubicBezTo>
                <a:cubicBezTo>
                  <a:pt x="6323414" y="13962"/>
                  <a:pt x="6665505" y="8824"/>
                  <a:pt x="7011263" y="0"/>
                </a:cubicBezTo>
                <a:cubicBezTo>
                  <a:pt x="7357021" y="-8824"/>
                  <a:pt x="7279031" y="11693"/>
                  <a:pt x="7356515" y="0"/>
                </a:cubicBezTo>
                <a:cubicBezTo>
                  <a:pt x="7433999" y="-11693"/>
                  <a:pt x="7584138" y="18179"/>
                  <a:pt x="7807998" y="0"/>
                </a:cubicBezTo>
                <a:cubicBezTo>
                  <a:pt x="8031858" y="-18179"/>
                  <a:pt x="8305509" y="-17509"/>
                  <a:pt x="8578174" y="0"/>
                </a:cubicBezTo>
                <a:cubicBezTo>
                  <a:pt x="8850839" y="17509"/>
                  <a:pt x="8793035" y="-15802"/>
                  <a:pt x="8923426" y="0"/>
                </a:cubicBezTo>
                <a:cubicBezTo>
                  <a:pt x="9053817" y="15802"/>
                  <a:pt x="9342388" y="1773"/>
                  <a:pt x="9481140" y="0"/>
                </a:cubicBezTo>
                <a:cubicBezTo>
                  <a:pt x="9619892" y="-1773"/>
                  <a:pt x="9762350" y="19550"/>
                  <a:pt x="10038854" y="0"/>
                </a:cubicBezTo>
                <a:cubicBezTo>
                  <a:pt x="10315358" y="-19550"/>
                  <a:pt x="10413381" y="22843"/>
                  <a:pt x="10623126" y="0"/>
                </a:cubicBezTo>
                <a:lnTo>
                  <a:pt x="10623126" y="0"/>
                </a:lnTo>
                <a:cubicBezTo>
                  <a:pt x="10604704" y="228184"/>
                  <a:pt x="10645665" y="353222"/>
                  <a:pt x="10623126" y="561149"/>
                </a:cubicBezTo>
                <a:cubicBezTo>
                  <a:pt x="10600587" y="769076"/>
                  <a:pt x="10643396" y="923488"/>
                  <a:pt x="10623126" y="1122298"/>
                </a:cubicBezTo>
                <a:cubicBezTo>
                  <a:pt x="10602856" y="1321108"/>
                  <a:pt x="10606322" y="1588223"/>
                  <a:pt x="10623126" y="1849941"/>
                </a:cubicBezTo>
                <a:lnTo>
                  <a:pt x="10623126" y="1849941"/>
                </a:lnTo>
                <a:cubicBezTo>
                  <a:pt x="10308413" y="1853597"/>
                  <a:pt x="10102223" y="1859973"/>
                  <a:pt x="9959181" y="1849941"/>
                </a:cubicBezTo>
                <a:cubicBezTo>
                  <a:pt x="9816139" y="1839909"/>
                  <a:pt x="9461847" y="1885266"/>
                  <a:pt x="9189004" y="1849941"/>
                </a:cubicBezTo>
                <a:cubicBezTo>
                  <a:pt x="8916161" y="1814616"/>
                  <a:pt x="8707678" y="1830660"/>
                  <a:pt x="8312596" y="1849941"/>
                </a:cubicBezTo>
                <a:cubicBezTo>
                  <a:pt x="7917514" y="1869222"/>
                  <a:pt x="7727486" y="1835478"/>
                  <a:pt x="7436188" y="1849941"/>
                </a:cubicBezTo>
                <a:cubicBezTo>
                  <a:pt x="7144890" y="1864404"/>
                  <a:pt x="6930211" y="1851715"/>
                  <a:pt x="6666012" y="1849941"/>
                </a:cubicBezTo>
                <a:cubicBezTo>
                  <a:pt x="6401813" y="1848167"/>
                  <a:pt x="6048985" y="1857147"/>
                  <a:pt x="5789604" y="1849941"/>
                </a:cubicBezTo>
                <a:cubicBezTo>
                  <a:pt x="5530223" y="1842735"/>
                  <a:pt x="5576858" y="1841566"/>
                  <a:pt x="5444352" y="1849941"/>
                </a:cubicBezTo>
                <a:cubicBezTo>
                  <a:pt x="5311846" y="1858316"/>
                  <a:pt x="5026904" y="1881159"/>
                  <a:pt x="4780407" y="1849941"/>
                </a:cubicBezTo>
                <a:cubicBezTo>
                  <a:pt x="4533910" y="1818723"/>
                  <a:pt x="4515712" y="1835244"/>
                  <a:pt x="4435155" y="1849941"/>
                </a:cubicBezTo>
                <a:cubicBezTo>
                  <a:pt x="4354598" y="1864638"/>
                  <a:pt x="4006696" y="1849683"/>
                  <a:pt x="3877441" y="1849941"/>
                </a:cubicBezTo>
                <a:cubicBezTo>
                  <a:pt x="3748186" y="1850199"/>
                  <a:pt x="3610715" y="1864332"/>
                  <a:pt x="3532189" y="1849941"/>
                </a:cubicBezTo>
                <a:cubicBezTo>
                  <a:pt x="3453663" y="1835550"/>
                  <a:pt x="2929183" y="1865573"/>
                  <a:pt x="2762013" y="1849941"/>
                </a:cubicBezTo>
                <a:cubicBezTo>
                  <a:pt x="2594843" y="1834309"/>
                  <a:pt x="2556388" y="1865620"/>
                  <a:pt x="2416761" y="1849941"/>
                </a:cubicBezTo>
                <a:cubicBezTo>
                  <a:pt x="2277134" y="1834262"/>
                  <a:pt x="2234563" y="1855687"/>
                  <a:pt x="2071510" y="1849941"/>
                </a:cubicBezTo>
                <a:cubicBezTo>
                  <a:pt x="1908457" y="1844195"/>
                  <a:pt x="1637841" y="1837819"/>
                  <a:pt x="1407564" y="1849941"/>
                </a:cubicBezTo>
                <a:cubicBezTo>
                  <a:pt x="1177287" y="1862063"/>
                  <a:pt x="1197106" y="1865729"/>
                  <a:pt x="1062313" y="1849941"/>
                </a:cubicBezTo>
                <a:cubicBezTo>
                  <a:pt x="927520" y="1834153"/>
                  <a:pt x="416685" y="1806880"/>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6" h="1849941" stroke="0" extrusionOk="0">
                <a:moveTo>
                  <a:pt x="0" y="0"/>
                </a:moveTo>
                <a:lnTo>
                  <a:pt x="0" y="0"/>
                </a:lnTo>
                <a:cubicBezTo>
                  <a:pt x="350945" y="1124"/>
                  <a:pt x="592400" y="786"/>
                  <a:pt x="770177" y="0"/>
                </a:cubicBezTo>
                <a:cubicBezTo>
                  <a:pt x="947954" y="-786"/>
                  <a:pt x="961195" y="9684"/>
                  <a:pt x="1115428" y="0"/>
                </a:cubicBezTo>
                <a:cubicBezTo>
                  <a:pt x="1269661" y="-9684"/>
                  <a:pt x="1422520" y="5265"/>
                  <a:pt x="1673142" y="0"/>
                </a:cubicBezTo>
                <a:cubicBezTo>
                  <a:pt x="1923764" y="-5265"/>
                  <a:pt x="1972363" y="3662"/>
                  <a:pt x="2124625" y="0"/>
                </a:cubicBezTo>
                <a:cubicBezTo>
                  <a:pt x="2276887" y="-3662"/>
                  <a:pt x="2310221" y="-3050"/>
                  <a:pt x="2469877" y="0"/>
                </a:cubicBezTo>
                <a:cubicBezTo>
                  <a:pt x="2629533" y="3050"/>
                  <a:pt x="2737561" y="4189"/>
                  <a:pt x="2921360" y="0"/>
                </a:cubicBezTo>
                <a:cubicBezTo>
                  <a:pt x="3105159" y="-4189"/>
                  <a:pt x="3234744" y="22542"/>
                  <a:pt x="3372843" y="0"/>
                </a:cubicBezTo>
                <a:cubicBezTo>
                  <a:pt x="3510942" y="-22542"/>
                  <a:pt x="3738840" y="-21056"/>
                  <a:pt x="3930557" y="0"/>
                </a:cubicBezTo>
                <a:cubicBezTo>
                  <a:pt x="4122274" y="21056"/>
                  <a:pt x="4342747" y="-19994"/>
                  <a:pt x="4700733" y="0"/>
                </a:cubicBezTo>
                <a:cubicBezTo>
                  <a:pt x="5058719" y="19994"/>
                  <a:pt x="5091660" y="14119"/>
                  <a:pt x="5258447" y="0"/>
                </a:cubicBezTo>
                <a:cubicBezTo>
                  <a:pt x="5425234" y="-14119"/>
                  <a:pt x="5836540" y="-18180"/>
                  <a:pt x="6134855" y="0"/>
                </a:cubicBezTo>
                <a:cubicBezTo>
                  <a:pt x="6433170" y="18180"/>
                  <a:pt x="6335730" y="-13066"/>
                  <a:pt x="6480107" y="0"/>
                </a:cubicBezTo>
                <a:cubicBezTo>
                  <a:pt x="6624484" y="13066"/>
                  <a:pt x="6911050" y="-21879"/>
                  <a:pt x="7250283" y="0"/>
                </a:cubicBezTo>
                <a:cubicBezTo>
                  <a:pt x="7589516" y="21879"/>
                  <a:pt x="7500711" y="-7088"/>
                  <a:pt x="7701766" y="0"/>
                </a:cubicBezTo>
                <a:cubicBezTo>
                  <a:pt x="7902821" y="7088"/>
                  <a:pt x="8245432" y="9730"/>
                  <a:pt x="8471943" y="0"/>
                </a:cubicBezTo>
                <a:cubicBezTo>
                  <a:pt x="8698454" y="-9730"/>
                  <a:pt x="8769885" y="4371"/>
                  <a:pt x="8923426" y="0"/>
                </a:cubicBezTo>
                <a:cubicBezTo>
                  <a:pt x="9076967" y="-4371"/>
                  <a:pt x="9160088" y="8065"/>
                  <a:pt x="9374909" y="0"/>
                </a:cubicBezTo>
                <a:cubicBezTo>
                  <a:pt x="9589730" y="-8065"/>
                  <a:pt x="10358266" y="2455"/>
                  <a:pt x="10623126" y="0"/>
                </a:cubicBezTo>
                <a:lnTo>
                  <a:pt x="10623126" y="0"/>
                </a:lnTo>
                <a:cubicBezTo>
                  <a:pt x="10649848" y="166197"/>
                  <a:pt x="10620929" y="355982"/>
                  <a:pt x="10623126" y="635146"/>
                </a:cubicBezTo>
                <a:cubicBezTo>
                  <a:pt x="10625323" y="914310"/>
                  <a:pt x="10622711" y="964317"/>
                  <a:pt x="10623126" y="1251793"/>
                </a:cubicBezTo>
                <a:cubicBezTo>
                  <a:pt x="10623541" y="1539269"/>
                  <a:pt x="10630654" y="1630607"/>
                  <a:pt x="10623126" y="1849941"/>
                </a:cubicBezTo>
                <a:lnTo>
                  <a:pt x="10623126" y="1849941"/>
                </a:lnTo>
                <a:cubicBezTo>
                  <a:pt x="10492908" y="1828873"/>
                  <a:pt x="10329199" y="1844956"/>
                  <a:pt x="10171643" y="1849941"/>
                </a:cubicBezTo>
                <a:cubicBezTo>
                  <a:pt x="10014087" y="1854926"/>
                  <a:pt x="9646312" y="1846595"/>
                  <a:pt x="9295235" y="1849941"/>
                </a:cubicBezTo>
                <a:cubicBezTo>
                  <a:pt x="8944158" y="1853287"/>
                  <a:pt x="8821789" y="1879813"/>
                  <a:pt x="8525059" y="1849941"/>
                </a:cubicBezTo>
                <a:cubicBezTo>
                  <a:pt x="8228329" y="1820069"/>
                  <a:pt x="8013879" y="1857528"/>
                  <a:pt x="7754882" y="1849941"/>
                </a:cubicBezTo>
                <a:cubicBezTo>
                  <a:pt x="7495885" y="1842354"/>
                  <a:pt x="7054550" y="1864474"/>
                  <a:pt x="6878474" y="1849941"/>
                </a:cubicBezTo>
                <a:cubicBezTo>
                  <a:pt x="6702398" y="1835408"/>
                  <a:pt x="6554736" y="1859904"/>
                  <a:pt x="6320760" y="1849941"/>
                </a:cubicBezTo>
                <a:cubicBezTo>
                  <a:pt x="6086784" y="1839978"/>
                  <a:pt x="6003152" y="1833832"/>
                  <a:pt x="5869277" y="1849941"/>
                </a:cubicBezTo>
                <a:cubicBezTo>
                  <a:pt x="5735402" y="1866050"/>
                  <a:pt x="5575486" y="1866413"/>
                  <a:pt x="5417794" y="1849941"/>
                </a:cubicBezTo>
                <a:cubicBezTo>
                  <a:pt x="5260102" y="1833469"/>
                  <a:pt x="4934896" y="1847043"/>
                  <a:pt x="4647618" y="1849941"/>
                </a:cubicBezTo>
                <a:cubicBezTo>
                  <a:pt x="4360340" y="1852839"/>
                  <a:pt x="4110839" y="1842447"/>
                  <a:pt x="3877441" y="1849941"/>
                </a:cubicBezTo>
                <a:cubicBezTo>
                  <a:pt x="3644043" y="1857435"/>
                  <a:pt x="3548300" y="1870814"/>
                  <a:pt x="3319727" y="1849941"/>
                </a:cubicBezTo>
                <a:cubicBezTo>
                  <a:pt x="3091154" y="1829068"/>
                  <a:pt x="2918003" y="1842026"/>
                  <a:pt x="2549550" y="1849941"/>
                </a:cubicBezTo>
                <a:cubicBezTo>
                  <a:pt x="2181097" y="1857856"/>
                  <a:pt x="2365999" y="1845242"/>
                  <a:pt x="2204299" y="1849941"/>
                </a:cubicBezTo>
                <a:cubicBezTo>
                  <a:pt x="2042599" y="1854640"/>
                  <a:pt x="1756688" y="1863018"/>
                  <a:pt x="1434122" y="1849941"/>
                </a:cubicBezTo>
                <a:cubicBezTo>
                  <a:pt x="1111556" y="1836864"/>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97A2BD">
              <a:alpha val="4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2C4B25AB-6DB4-6253-89EC-F079D30CBCC9}"/>
              </a:ext>
            </a:extLst>
          </p:cNvPr>
          <p:cNvSpPr/>
          <p:nvPr/>
        </p:nvSpPr>
        <p:spPr>
          <a:xfrm rot="16200000" flipH="1">
            <a:off x="-140534" y="5065752"/>
            <a:ext cx="1849941" cy="402167"/>
          </a:xfrm>
          <a:prstGeom prst="roundRect">
            <a:avLst>
              <a:gd name="adj" fmla="val 0"/>
            </a:avLst>
          </a:prstGeom>
          <a:solidFill>
            <a:srgbClr val="97A2BD"/>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gør vi</a:t>
            </a:r>
          </a:p>
        </p:txBody>
      </p:sp>
      <p:sp>
        <p:nvSpPr>
          <p:cNvPr id="4" name="Rectangle 3">
            <a:extLst>
              <a:ext uri="{FF2B5EF4-FFF2-40B4-BE49-F238E27FC236}">
                <a16:creationId xmlns:a16="http://schemas.microsoft.com/office/drawing/2014/main" id="{4B9281CF-B763-7EF3-9897-1260CA8CB420}"/>
              </a:ext>
            </a:extLst>
          </p:cNvPr>
          <p:cNvSpPr/>
          <p:nvPr/>
        </p:nvSpPr>
        <p:spPr>
          <a:xfrm>
            <a:off x="6397178" y="2022700"/>
            <a:ext cx="5115998" cy="4335238"/>
          </a:xfrm>
          <a:prstGeom prst="rect">
            <a:avLst/>
          </a:prstGeom>
          <a:solidFill>
            <a:srgbClr val="97A2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2CC41DDB-DAB5-6C0B-BDE5-6F55F3232982}"/>
              </a:ext>
            </a:extLst>
          </p:cNvPr>
          <p:cNvSpPr/>
          <p:nvPr/>
        </p:nvSpPr>
        <p:spPr>
          <a:xfrm>
            <a:off x="6395310" y="1737360"/>
            <a:ext cx="5123418" cy="396000"/>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6" name="TextBox 43">
            <a:extLst>
              <a:ext uri="{FF2B5EF4-FFF2-40B4-BE49-F238E27FC236}">
                <a16:creationId xmlns:a16="http://schemas.microsoft.com/office/drawing/2014/main" id="{D827BF99-F82F-ED14-E82B-6B772D1FB2E5}"/>
              </a:ext>
            </a:extLst>
          </p:cNvPr>
          <p:cNvSpPr txBox="1"/>
          <p:nvPr/>
        </p:nvSpPr>
        <p:spPr>
          <a:xfrm>
            <a:off x="1202865" y="2330482"/>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dirty="0">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Ambition &amp; målsætning:</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Baseline:</a:t>
            </a:r>
            <a:endParaRPr lang="da-DK" sz="1100" i="1" dirty="0">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p:txBody>
      </p:sp>
      <p:sp>
        <p:nvSpPr>
          <p:cNvPr id="7" name="TextBox 43">
            <a:extLst>
              <a:ext uri="{FF2B5EF4-FFF2-40B4-BE49-F238E27FC236}">
                <a16:creationId xmlns:a16="http://schemas.microsoft.com/office/drawing/2014/main" id="{BCAA4E08-EF1A-7F73-10B2-17FAFFF2C685}"/>
              </a:ext>
            </a:extLst>
          </p:cNvPr>
          <p:cNvSpPr txBox="1"/>
          <p:nvPr/>
        </p:nvSpPr>
        <p:spPr>
          <a:xfrm>
            <a:off x="6444529" y="2330481"/>
            <a:ext cx="4888006" cy="1446550"/>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dirty="0">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lvl="0">
              <a:defRPr/>
            </a:pPr>
            <a:r>
              <a:rPr lang="da-DK" sz="1100" b="1" dirty="0">
                <a:solidFill>
                  <a:srgbClr val="000000"/>
                </a:solidFill>
                <a:latin typeface="Verdana" panose="020B0604030504040204" pitchFamily="34" charset="0"/>
                <a:ea typeface="Verdana" panose="020B0604030504040204" pitchFamily="34" charset="0"/>
              </a:rPr>
              <a:t>Ambition &amp; målsætning:</a:t>
            </a:r>
          </a:p>
          <a:p>
            <a:pPr marR="0" lvl="0" algn="l" defTabSz="914400" eaLnBrk="1" fontAlgn="auto" latinLnBrk="0" hangingPunct="1">
              <a:lnSpc>
                <a:spcPct val="100000"/>
              </a:lnSpc>
              <a:spcBef>
                <a:spcPts val="0"/>
              </a:spcBef>
              <a:spcAft>
                <a:spcPts val="0"/>
              </a:spcAft>
              <a:buClrTx/>
              <a:buSzTx/>
              <a:tabLst/>
              <a:defRPr/>
            </a:pPr>
            <a:endParaRPr lang="da-DK" sz="1100" b="1"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dirty="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dirty="0">
                <a:solidFill>
                  <a:srgbClr val="000000"/>
                </a:solidFill>
                <a:latin typeface="Verdana" panose="020B0604030504040204" pitchFamily="34" charset="0"/>
                <a:ea typeface="Verdana" panose="020B0604030504040204" pitchFamily="34" charset="0"/>
              </a:rPr>
              <a:t>Baseline:</a:t>
            </a:r>
            <a:endParaRPr lang="da-DK" sz="1100" dirty="0">
              <a:solidFill>
                <a:srgbClr val="000000"/>
              </a:solidFill>
              <a:latin typeface="Verdana" panose="020B0604030504040204" pitchFamily="34" charset="0"/>
              <a:ea typeface="Verdana" panose="020B0604030504040204" pitchFamily="34" charset="0"/>
            </a:endParaRPr>
          </a:p>
        </p:txBody>
      </p:sp>
      <p:sp>
        <p:nvSpPr>
          <p:cNvPr id="19" name="TextBox 43">
            <a:extLst>
              <a:ext uri="{FF2B5EF4-FFF2-40B4-BE49-F238E27FC236}">
                <a16:creationId xmlns:a16="http://schemas.microsoft.com/office/drawing/2014/main" id="{D0D89BA1-CB6E-E619-EEB9-18D2FDDC7895}"/>
              </a:ext>
            </a:extLst>
          </p:cNvPr>
          <p:cNvSpPr txBox="1"/>
          <p:nvPr/>
        </p:nvSpPr>
        <p:spPr>
          <a:xfrm>
            <a:off x="1202865" y="4355404"/>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sp>
        <p:nvSpPr>
          <p:cNvPr id="20" name="TextBox 43">
            <a:extLst>
              <a:ext uri="{FF2B5EF4-FFF2-40B4-BE49-F238E27FC236}">
                <a16:creationId xmlns:a16="http://schemas.microsoft.com/office/drawing/2014/main" id="{876EE559-3B1E-74A6-789C-1D23D9EEDAD7}"/>
              </a:ext>
            </a:extLst>
          </p:cNvPr>
          <p:cNvSpPr txBox="1"/>
          <p:nvPr/>
        </p:nvSpPr>
        <p:spPr>
          <a:xfrm>
            <a:off x="6444529" y="4355403"/>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pic>
        <p:nvPicPr>
          <p:cNvPr id="3" name="Picture 2" descr="A blue and white logo&#10;&#10;AI-generated content may be incorrect.">
            <a:extLst>
              <a:ext uri="{FF2B5EF4-FFF2-40B4-BE49-F238E27FC236}">
                <a16:creationId xmlns:a16="http://schemas.microsoft.com/office/drawing/2014/main" id="{FF6BF59C-186B-3240-2015-26DA3459DA5A}"/>
              </a:ext>
            </a:extLst>
          </p:cNvPr>
          <p:cNvPicPr>
            <a:picLocks noChangeAspect="1"/>
          </p:cNvPicPr>
          <p:nvPr/>
        </p:nvPicPr>
        <p:blipFill>
          <a:blip r:embed="rId3">
            <a:alphaModFix/>
          </a:blip>
          <a:stretch>
            <a:fillRect/>
          </a:stretch>
        </p:blipFill>
        <p:spPr>
          <a:xfrm>
            <a:off x="11027227" y="89320"/>
            <a:ext cx="667587" cy="696082"/>
          </a:xfrm>
          <a:prstGeom prst="rect">
            <a:avLst/>
          </a:prstGeom>
        </p:spPr>
      </p:pic>
    </p:spTree>
    <p:extLst>
      <p:ext uri="{BB962C8B-B14F-4D97-AF65-F5344CB8AC3E}">
        <p14:creationId xmlns:p14="http://schemas.microsoft.com/office/powerpoint/2010/main" val="12011827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6D2900-825D-64BF-5864-420C8B92DE3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6F7ECE3-F859-D5B1-D0A3-A40C2B21B6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16F7ECE3-F859-D5B1-D0A3-A40C2B21B6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E74C21FF-E0DC-1B35-8BAF-B98A0D710AC1}"/>
              </a:ext>
            </a:extLst>
          </p:cNvPr>
          <p:cNvSpPr>
            <a:spLocks noGrp="1"/>
          </p:cNvSpPr>
          <p:nvPr>
            <p:ph type="sldNum" sz="quarter" idx="12"/>
          </p:nvPr>
        </p:nvSpPr>
        <p:spPr/>
        <p:txBody>
          <a:bodyPr/>
          <a:lstStyle/>
          <a:p>
            <a:fld id="{D1CF6110-3358-3240-B3E6-2B2529506D05}" type="slidenum">
              <a:rPr lang="da-DK" smtClean="0"/>
              <a:t>25</a:t>
            </a:fld>
            <a:endParaRPr lang="da-DK"/>
          </a:p>
        </p:txBody>
      </p:sp>
      <p:sp>
        <p:nvSpPr>
          <p:cNvPr id="14" name="Title 1">
            <a:extLst>
              <a:ext uri="{FF2B5EF4-FFF2-40B4-BE49-F238E27FC236}">
                <a16:creationId xmlns:a16="http://schemas.microsoft.com/office/drawing/2014/main" id="{9C51C34C-6F2E-3D82-A535-586749E43FF7}"/>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1]</a:t>
            </a:r>
            <a:endParaRPr lang="da-DK" sz="4000">
              <a:solidFill>
                <a:srgbClr val="005850"/>
              </a:solidFill>
              <a:latin typeface="Verdana" panose="020B0604030504040204" pitchFamily="34" charset="0"/>
              <a:ea typeface="Verdana" panose="020B0604030504040204" pitchFamily="34" charset="0"/>
            </a:endParaRPr>
          </a:p>
        </p:txBody>
      </p:sp>
      <p:sp>
        <p:nvSpPr>
          <p:cNvPr id="29" name="Rectangle: Rounded Corners 28">
            <a:extLst>
              <a:ext uri="{FF2B5EF4-FFF2-40B4-BE49-F238E27FC236}">
                <a16:creationId xmlns:a16="http://schemas.microsoft.com/office/drawing/2014/main" id="{7B6CEAA0-29AA-CA26-7829-245BC805E682}"/>
              </a:ext>
            </a:extLst>
          </p:cNvPr>
          <p:cNvSpPr/>
          <p:nvPr/>
        </p:nvSpPr>
        <p:spPr>
          <a:xfrm>
            <a:off x="6233458" y="2611219"/>
            <a:ext cx="5461353" cy="3722973"/>
          </a:xfrm>
          <a:custGeom>
            <a:avLst/>
            <a:gdLst>
              <a:gd name="connsiteX0" fmla="*/ 0 w 5461353"/>
              <a:gd name="connsiteY0" fmla="*/ 0 h 3722973"/>
              <a:gd name="connsiteX1" fmla="*/ 0 w 5461353"/>
              <a:gd name="connsiteY1" fmla="*/ 0 h 3722973"/>
              <a:gd name="connsiteX2" fmla="*/ 791896 w 5461353"/>
              <a:gd name="connsiteY2" fmla="*/ 0 h 3722973"/>
              <a:gd name="connsiteX3" fmla="*/ 1419952 w 5461353"/>
              <a:gd name="connsiteY3" fmla="*/ 0 h 3722973"/>
              <a:gd name="connsiteX4" fmla="*/ 1993394 w 5461353"/>
              <a:gd name="connsiteY4" fmla="*/ 0 h 3722973"/>
              <a:gd name="connsiteX5" fmla="*/ 2512222 w 5461353"/>
              <a:gd name="connsiteY5" fmla="*/ 0 h 3722973"/>
              <a:gd name="connsiteX6" fmla="*/ 3194892 w 5461353"/>
              <a:gd name="connsiteY6" fmla="*/ 0 h 3722973"/>
              <a:gd name="connsiteX7" fmla="*/ 3768334 w 5461353"/>
              <a:gd name="connsiteY7" fmla="*/ 0 h 3722973"/>
              <a:gd name="connsiteX8" fmla="*/ 4505616 w 5461353"/>
              <a:gd name="connsiteY8" fmla="*/ 0 h 3722973"/>
              <a:gd name="connsiteX9" fmla="*/ 5461353 w 5461353"/>
              <a:gd name="connsiteY9" fmla="*/ 0 h 3722973"/>
              <a:gd name="connsiteX10" fmla="*/ 5461353 w 5461353"/>
              <a:gd name="connsiteY10" fmla="*/ 0 h 3722973"/>
              <a:gd name="connsiteX11" fmla="*/ 5461353 w 5461353"/>
              <a:gd name="connsiteY11" fmla="*/ 508806 h 3722973"/>
              <a:gd name="connsiteX12" fmla="*/ 5461353 w 5461353"/>
              <a:gd name="connsiteY12" fmla="*/ 1129302 h 3722973"/>
              <a:gd name="connsiteX13" fmla="*/ 5461353 w 5461353"/>
              <a:gd name="connsiteY13" fmla="*/ 1675338 h 3722973"/>
              <a:gd name="connsiteX14" fmla="*/ 5461353 w 5461353"/>
              <a:gd name="connsiteY14" fmla="*/ 2295833 h 3722973"/>
              <a:gd name="connsiteX15" fmla="*/ 5461353 w 5461353"/>
              <a:gd name="connsiteY15" fmla="*/ 2804640 h 3722973"/>
              <a:gd name="connsiteX16" fmla="*/ 5461353 w 5461353"/>
              <a:gd name="connsiteY16" fmla="*/ 3722973 h 3722973"/>
              <a:gd name="connsiteX17" fmla="*/ 5461353 w 5461353"/>
              <a:gd name="connsiteY17" fmla="*/ 3722973 h 3722973"/>
              <a:gd name="connsiteX18" fmla="*/ 4887911 w 5461353"/>
              <a:gd name="connsiteY18" fmla="*/ 3722973 h 3722973"/>
              <a:gd name="connsiteX19" fmla="*/ 4205242 w 5461353"/>
              <a:gd name="connsiteY19" fmla="*/ 3722973 h 3722973"/>
              <a:gd name="connsiteX20" fmla="*/ 3577186 w 5461353"/>
              <a:gd name="connsiteY20" fmla="*/ 3722973 h 3722973"/>
              <a:gd name="connsiteX21" fmla="*/ 3058358 w 5461353"/>
              <a:gd name="connsiteY21" fmla="*/ 3722973 h 3722973"/>
              <a:gd name="connsiteX22" fmla="*/ 2430302 w 5461353"/>
              <a:gd name="connsiteY22" fmla="*/ 3722973 h 3722973"/>
              <a:gd name="connsiteX23" fmla="*/ 1693019 w 5461353"/>
              <a:gd name="connsiteY23" fmla="*/ 3722973 h 3722973"/>
              <a:gd name="connsiteX24" fmla="*/ 1010350 w 5461353"/>
              <a:gd name="connsiteY24" fmla="*/ 3722973 h 3722973"/>
              <a:gd name="connsiteX25" fmla="*/ 0 w 5461353"/>
              <a:gd name="connsiteY25" fmla="*/ 3722973 h 3722973"/>
              <a:gd name="connsiteX26" fmla="*/ 0 w 5461353"/>
              <a:gd name="connsiteY26" fmla="*/ 3722973 h 3722973"/>
              <a:gd name="connsiteX27" fmla="*/ 0 w 5461353"/>
              <a:gd name="connsiteY27" fmla="*/ 3214167 h 3722973"/>
              <a:gd name="connsiteX28" fmla="*/ 0 w 5461353"/>
              <a:gd name="connsiteY28" fmla="*/ 2668131 h 3722973"/>
              <a:gd name="connsiteX29" fmla="*/ 0 w 5461353"/>
              <a:gd name="connsiteY29" fmla="*/ 2010405 h 3722973"/>
              <a:gd name="connsiteX30" fmla="*/ 0 w 5461353"/>
              <a:gd name="connsiteY30" fmla="*/ 1501599 h 3722973"/>
              <a:gd name="connsiteX31" fmla="*/ 0 w 5461353"/>
              <a:gd name="connsiteY31" fmla="*/ 918333 h 3722973"/>
              <a:gd name="connsiteX32" fmla="*/ 0 w 5461353"/>
              <a:gd name="connsiteY32" fmla="*/ 0 h 372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7229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8869" y="229187"/>
                  <a:pt x="5452567" y="365366"/>
                  <a:pt x="5461353" y="508806"/>
                </a:cubicBezTo>
                <a:cubicBezTo>
                  <a:pt x="5470139" y="652246"/>
                  <a:pt x="5447779" y="913337"/>
                  <a:pt x="5461353" y="1129302"/>
                </a:cubicBezTo>
                <a:cubicBezTo>
                  <a:pt x="5474927" y="1345267"/>
                  <a:pt x="5455723" y="1500536"/>
                  <a:pt x="5461353" y="1675338"/>
                </a:cubicBezTo>
                <a:cubicBezTo>
                  <a:pt x="5466983" y="1850140"/>
                  <a:pt x="5443164" y="2125656"/>
                  <a:pt x="5461353" y="2295833"/>
                </a:cubicBezTo>
                <a:cubicBezTo>
                  <a:pt x="5479542" y="2466010"/>
                  <a:pt x="5450386" y="2639924"/>
                  <a:pt x="5461353" y="2804640"/>
                </a:cubicBezTo>
                <a:cubicBezTo>
                  <a:pt x="5472320" y="2969356"/>
                  <a:pt x="5440844" y="3332482"/>
                  <a:pt x="5461353" y="3722973"/>
                </a:cubicBezTo>
                <a:lnTo>
                  <a:pt x="5461353" y="3722973"/>
                </a:lnTo>
                <a:cubicBezTo>
                  <a:pt x="5238880" y="3714386"/>
                  <a:pt x="5041401" y="3694534"/>
                  <a:pt x="4887911" y="3722973"/>
                </a:cubicBezTo>
                <a:cubicBezTo>
                  <a:pt x="4734421" y="3751412"/>
                  <a:pt x="4500958" y="3752549"/>
                  <a:pt x="4205242" y="3722973"/>
                </a:cubicBezTo>
                <a:cubicBezTo>
                  <a:pt x="3909526" y="3693397"/>
                  <a:pt x="3729356" y="3709332"/>
                  <a:pt x="3577186" y="3722973"/>
                </a:cubicBezTo>
                <a:cubicBezTo>
                  <a:pt x="3425016" y="3736614"/>
                  <a:pt x="3205077" y="3719954"/>
                  <a:pt x="3058358" y="3722973"/>
                </a:cubicBezTo>
                <a:cubicBezTo>
                  <a:pt x="2911639" y="3725992"/>
                  <a:pt x="2676384" y="3749685"/>
                  <a:pt x="2430302" y="3722973"/>
                </a:cubicBezTo>
                <a:cubicBezTo>
                  <a:pt x="2184220" y="3696261"/>
                  <a:pt x="1945052" y="3739897"/>
                  <a:pt x="1693019" y="3722973"/>
                </a:cubicBezTo>
                <a:cubicBezTo>
                  <a:pt x="1440986" y="3706049"/>
                  <a:pt x="1150111" y="3746827"/>
                  <a:pt x="1010350" y="3722973"/>
                </a:cubicBezTo>
                <a:cubicBezTo>
                  <a:pt x="870589" y="3699119"/>
                  <a:pt x="409237" y="3724222"/>
                  <a:pt x="0" y="3722973"/>
                </a:cubicBezTo>
                <a:lnTo>
                  <a:pt x="0" y="3722973"/>
                </a:lnTo>
                <a:cubicBezTo>
                  <a:pt x="2743" y="3486536"/>
                  <a:pt x="8540" y="3335445"/>
                  <a:pt x="0" y="3214167"/>
                </a:cubicBezTo>
                <a:cubicBezTo>
                  <a:pt x="-8540" y="3092889"/>
                  <a:pt x="15264" y="2822416"/>
                  <a:pt x="0" y="2668131"/>
                </a:cubicBezTo>
                <a:cubicBezTo>
                  <a:pt x="-15264" y="2513846"/>
                  <a:pt x="-29012" y="2238141"/>
                  <a:pt x="0" y="2010405"/>
                </a:cubicBezTo>
                <a:cubicBezTo>
                  <a:pt x="29012" y="1782669"/>
                  <a:pt x="5214" y="1664840"/>
                  <a:pt x="0" y="1501599"/>
                </a:cubicBezTo>
                <a:cubicBezTo>
                  <a:pt x="-5214" y="1338358"/>
                  <a:pt x="-6714" y="1209052"/>
                  <a:pt x="0" y="918333"/>
                </a:cubicBezTo>
                <a:cubicBezTo>
                  <a:pt x="6714" y="627614"/>
                  <a:pt x="-12356" y="346867"/>
                  <a:pt x="0" y="0"/>
                </a:cubicBezTo>
                <a:close/>
              </a:path>
              <a:path w="5461353" h="37229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2472" y="122234"/>
                  <a:pt x="5467096" y="310078"/>
                  <a:pt x="5461353" y="583266"/>
                </a:cubicBezTo>
                <a:cubicBezTo>
                  <a:pt x="5455610" y="856454"/>
                  <a:pt x="5449584" y="979741"/>
                  <a:pt x="5461353" y="1278221"/>
                </a:cubicBezTo>
                <a:cubicBezTo>
                  <a:pt x="5473122" y="1576702"/>
                  <a:pt x="5448249" y="1583784"/>
                  <a:pt x="5461353" y="1824257"/>
                </a:cubicBezTo>
                <a:cubicBezTo>
                  <a:pt x="5474457" y="2064730"/>
                  <a:pt x="5448636" y="2207670"/>
                  <a:pt x="5461353" y="2444752"/>
                </a:cubicBezTo>
                <a:cubicBezTo>
                  <a:pt x="5474070" y="2681834"/>
                  <a:pt x="5480859" y="2817650"/>
                  <a:pt x="5461353" y="2953559"/>
                </a:cubicBezTo>
                <a:cubicBezTo>
                  <a:pt x="5441847" y="3089468"/>
                  <a:pt x="5442716" y="3542606"/>
                  <a:pt x="5461353" y="3722973"/>
                </a:cubicBezTo>
                <a:lnTo>
                  <a:pt x="5461353" y="3722973"/>
                </a:lnTo>
                <a:cubicBezTo>
                  <a:pt x="5229711" y="3702221"/>
                  <a:pt x="5055871" y="3730323"/>
                  <a:pt x="4887911" y="3722973"/>
                </a:cubicBezTo>
                <a:cubicBezTo>
                  <a:pt x="4719951" y="3715623"/>
                  <a:pt x="4440828" y="3750147"/>
                  <a:pt x="4259855" y="3722973"/>
                </a:cubicBezTo>
                <a:cubicBezTo>
                  <a:pt x="4078882" y="3695799"/>
                  <a:pt x="3931066" y="3695601"/>
                  <a:pt x="3686413" y="3722973"/>
                </a:cubicBezTo>
                <a:cubicBezTo>
                  <a:pt x="3441760" y="3750345"/>
                  <a:pt x="3372027" y="3693201"/>
                  <a:pt x="3058358" y="3722973"/>
                </a:cubicBezTo>
                <a:cubicBezTo>
                  <a:pt x="2744689" y="3752745"/>
                  <a:pt x="2531520" y="3694643"/>
                  <a:pt x="2375689" y="3722973"/>
                </a:cubicBezTo>
                <a:cubicBezTo>
                  <a:pt x="2219858" y="3751303"/>
                  <a:pt x="1841665" y="3719827"/>
                  <a:pt x="1693019" y="3722973"/>
                </a:cubicBezTo>
                <a:cubicBezTo>
                  <a:pt x="1544373" y="3726120"/>
                  <a:pt x="1298560" y="3737789"/>
                  <a:pt x="1064964" y="3722973"/>
                </a:cubicBezTo>
                <a:cubicBezTo>
                  <a:pt x="831368" y="3708157"/>
                  <a:pt x="328842" y="3690052"/>
                  <a:pt x="0" y="3722973"/>
                </a:cubicBezTo>
                <a:lnTo>
                  <a:pt x="0" y="3722973"/>
                </a:lnTo>
                <a:cubicBezTo>
                  <a:pt x="30864" y="3574525"/>
                  <a:pt x="-10408" y="3307074"/>
                  <a:pt x="0" y="3065248"/>
                </a:cubicBezTo>
                <a:cubicBezTo>
                  <a:pt x="10408" y="2823422"/>
                  <a:pt x="855" y="2736270"/>
                  <a:pt x="0" y="2481982"/>
                </a:cubicBezTo>
                <a:cubicBezTo>
                  <a:pt x="-855" y="2227694"/>
                  <a:pt x="14033" y="2054582"/>
                  <a:pt x="0" y="1861487"/>
                </a:cubicBezTo>
                <a:cubicBezTo>
                  <a:pt x="-14033" y="1668392"/>
                  <a:pt x="4377" y="1492930"/>
                  <a:pt x="0" y="1352680"/>
                </a:cubicBezTo>
                <a:cubicBezTo>
                  <a:pt x="-4377" y="1212430"/>
                  <a:pt x="-6337" y="917576"/>
                  <a:pt x="0" y="732185"/>
                </a:cubicBezTo>
                <a:cubicBezTo>
                  <a:pt x="6337" y="546794"/>
                  <a:pt x="-27429" y="208357"/>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BD26AEAE-619F-33F2-565E-2E4C25956338}"/>
              </a:ext>
            </a:extLst>
          </p:cNvPr>
          <p:cNvSpPr/>
          <p:nvPr/>
        </p:nvSpPr>
        <p:spPr>
          <a:xfrm>
            <a:off x="6233455" y="2388915"/>
            <a:ext cx="5461359" cy="3950180"/>
          </a:xfrm>
          <a:custGeom>
            <a:avLst/>
            <a:gdLst>
              <a:gd name="connsiteX0" fmla="*/ 0 w 5461359"/>
              <a:gd name="connsiteY0" fmla="*/ 0 h 3950180"/>
              <a:gd name="connsiteX1" fmla="*/ 518829 w 5461359"/>
              <a:gd name="connsiteY1" fmla="*/ 0 h 3950180"/>
              <a:gd name="connsiteX2" fmla="*/ 1037658 w 5461359"/>
              <a:gd name="connsiteY2" fmla="*/ 0 h 3950180"/>
              <a:gd name="connsiteX3" fmla="*/ 1829555 w 5461359"/>
              <a:gd name="connsiteY3" fmla="*/ 0 h 3950180"/>
              <a:gd name="connsiteX4" fmla="*/ 2512225 w 5461359"/>
              <a:gd name="connsiteY4" fmla="*/ 0 h 3950180"/>
              <a:gd name="connsiteX5" fmla="*/ 3249509 w 5461359"/>
              <a:gd name="connsiteY5" fmla="*/ 0 h 3950180"/>
              <a:gd name="connsiteX6" fmla="*/ 3822951 w 5461359"/>
              <a:gd name="connsiteY6" fmla="*/ 0 h 3950180"/>
              <a:gd name="connsiteX7" fmla="*/ 4505621 w 5461359"/>
              <a:gd name="connsiteY7" fmla="*/ 0 h 3950180"/>
              <a:gd name="connsiteX8" fmla="*/ 5461359 w 5461359"/>
              <a:gd name="connsiteY8" fmla="*/ 0 h 3950180"/>
              <a:gd name="connsiteX9" fmla="*/ 5461359 w 5461359"/>
              <a:gd name="connsiteY9" fmla="*/ 737367 h 3950180"/>
              <a:gd name="connsiteX10" fmla="*/ 5461359 w 5461359"/>
              <a:gd name="connsiteY10" fmla="*/ 1356228 h 3950180"/>
              <a:gd name="connsiteX11" fmla="*/ 5461359 w 5461359"/>
              <a:gd name="connsiteY11" fmla="*/ 1896086 h 3950180"/>
              <a:gd name="connsiteX12" fmla="*/ 5461359 w 5461359"/>
              <a:gd name="connsiteY12" fmla="*/ 2435944 h 3950180"/>
              <a:gd name="connsiteX13" fmla="*/ 5461359 w 5461359"/>
              <a:gd name="connsiteY13" fmla="*/ 3094308 h 3950180"/>
              <a:gd name="connsiteX14" fmla="*/ 5461359 w 5461359"/>
              <a:gd name="connsiteY14" fmla="*/ 3950180 h 3950180"/>
              <a:gd name="connsiteX15" fmla="*/ 4887916 w 5461359"/>
              <a:gd name="connsiteY15" fmla="*/ 3950180 h 3950180"/>
              <a:gd name="connsiteX16" fmla="*/ 4314474 w 5461359"/>
              <a:gd name="connsiteY16" fmla="*/ 3950180 h 3950180"/>
              <a:gd name="connsiteX17" fmla="*/ 3522577 w 5461359"/>
              <a:gd name="connsiteY17" fmla="*/ 3950180 h 3950180"/>
              <a:gd name="connsiteX18" fmla="*/ 2730680 w 5461359"/>
              <a:gd name="connsiteY18" fmla="*/ 3950180 h 3950180"/>
              <a:gd name="connsiteX19" fmla="*/ 2102623 w 5461359"/>
              <a:gd name="connsiteY19" fmla="*/ 3950180 h 3950180"/>
              <a:gd name="connsiteX20" fmla="*/ 1529181 w 5461359"/>
              <a:gd name="connsiteY20" fmla="*/ 3950180 h 3950180"/>
              <a:gd name="connsiteX21" fmla="*/ 737283 w 5461359"/>
              <a:gd name="connsiteY21" fmla="*/ 3950180 h 3950180"/>
              <a:gd name="connsiteX22" fmla="*/ 0 w 5461359"/>
              <a:gd name="connsiteY22" fmla="*/ 3950180 h 3950180"/>
              <a:gd name="connsiteX23" fmla="*/ 0 w 5461359"/>
              <a:gd name="connsiteY23" fmla="*/ 3291817 h 3950180"/>
              <a:gd name="connsiteX24" fmla="*/ 0 w 5461359"/>
              <a:gd name="connsiteY24" fmla="*/ 2593952 h 3950180"/>
              <a:gd name="connsiteX25" fmla="*/ 0 w 5461359"/>
              <a:gd name="connsiteY25" fmla="*/ 1975090 h 3950180"/>
              <a:gd name="connsiteX26" fmla="*/ 0 w 5461359"/>
              <a:gd name="connsiteY26" fmla="*/ 1277225 h 3950180"/>
              <a:gd name="connsiteX27" fmla="*/ 0 w 5461359"/>
              <a:gd name="connsiteY27" fmla="*/ 658363 h 3950180"/>
              <a:gd name="connsiteX28" fmla="*/ 0 w 5461359"/>
              <a:gd name="connsiteY28" fmla="*/ 0 h 395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61359" h="3950180" fill="none" extrusionOk="0">
                <a:moveTo>
                  <a:pt x="0" y="0"/>
                </a:moveTo>
                <a:cubicBezTo>
                  <a:pt x="217922" y="22036"/>
                  <a:pt x="299785" y="7442"/>
                  <a:pt x="518829" y="0"/>
                </a:cubicBezTo>
                <a:cubicBezTo>
                  <a:pt x="737873" y="-7442"/>
                  <a:pt x="861508" y="8871"/>
                  <a:pt x="1037658" y="0"/>
                </a:cubicBezTo>
                <a:cubicBezTo>
                  <a:pt x="1213808" y="-8871"/>
                  <a:pt x="1446630" y="-19171"/>
                  <a:pt x="1829555" y="0"/>
                </a:cubicBezTo>
                <a:cubicBezTo>
                  <a:pt x="2212480" y="19171"/>
                  <a:pt x="2330484" y="17120"/>
                  <a:pt x="2512225" y="0"/>
                </a:cubicBezTo>
                <a:cubicBezTo>
                  <a:pt x="2693966" y="-17120"/>
                  <a:pt x="3081312" y="29340"/>
                  <a:pt x="3249509" y="0"/>
                </a:cubicBezTo>
                <a:cubicBezTo>
                  <a:pt x="3417706" y="-29340"/>
                  <a:pt x="3662488" y="-20095"/>
                  <a:pt x="3822951" y="0"/>
                </a:cubicBezTo>
                <a:cubicBezTo>
                  <a:pt x="3983414" y="20095"/>
                  <a:pt x="4169544" y="-4999"/>
                  <a:pt x="4505621" y="0"/>
                </a:cubicBezTo>
                <a:cubicBezTo>
                  <a:pt x="4841698" y="4999"/>
                  <a:pt x="5222438" y="-11487"/>
                  <a:pt x="5461359" y="0"/>
                </a:cubicBezTo>
                <a:cubicBezTo>
                  <a:pt x="5449681" y="181734"/>
                  <a:pt x="5442596" y="448745"/>
                  <a:pt x="5461359" y="737367"/>
                </a:cubicBezTo>
                <a:cubicBezTo>
                  <a:pt x="5480122" y="1025989"/>
                  <a:pt x="5472179" y="1047608"/>
                  <a:pt x="5461359" y="1356228"/>
                </a:cubicBezTo>
                <a:cubicBezTo>
                  <a:pt x="5450539" y="1664848"/>
                  <a:pt x="5470469" y="1648218"/>
                  <a:pt x="5461359" y="1896086"/>
                </a:cubicBezTo>
                <a:cubicBezTo>
                  <a:pt x="5452249" y="2143954"/>
                  <a:pt x="5485769" y="2319576"/>
                  <a:pt x="5461359" y="2435944"/>
                </a:cubicBezTo>
                <a:cubicBezTo>
                  <a:pt x="5436949" y="2552312"/>
                  <a:pt x="5487499" y="2845958"/>
                  <a:pt x="5461359" y="3094308"/>
                </a:cubicBezTo>
                <a:cubicBezTo>
                  <a:pt x="5435219" y="3342658"/>
                  <a:pt x="5436266" y="3553024"/>
                  <a:pt x="5461359" y="3950180"/>
                </a:cubicBezTo>
                <a:cubicBezTo>
                  <a:pt x="5292127" y="3956706"/>
                  <a:pt x="5161925" y="3932457"/>
                  <a:pt x="4887916" y="3950180"/>
                </a:cubicBezTo>
                <a:cubicBezTo>
                  <a:pt x="4613907" y="3967903"/>
                  <a:pt x="4494149" y="3973122"/>
                  <a:pt x="4314474" y="3950180"/>
                </a:cubicBezTo>
                <a:cubicBezTo>
                  <a:pt x="4134799" y="3927238"/>
                  <a:pt x="3705291" y="3936674"/>
                  <a:pt x="3522577" y="3950180"/>
                </a:cubicBezTo>
                <a:cubicBezTo>
                  <a:pt x="3339863" y="3963686"/>
                  <a:pt x="3086449" y="3915907"/>
                  <a:pt x="2730680" y="3950180"/>
                </a:cubicBezTo>
                <a:cubicBezTo>
                  <a:pt x="2374911" y="3984453"/>
                  <a:pt x="2375398" y="3953083"/>
                  <a:pt x="2102623" y="3950180"/>
                </a:cubicBezTo>
                <a:cubicBezTo>
                  <a:pt x="1829848" y="3947277"/>
                  <a:pt x="1722801" y="3935646"/>
                  <a:pt x="1529181" y="3950180"/>
                </a:cubicBezTo>
                <a:cubicBezTo>
                  <a:pt x="1335561" y="3964714"/>
                  <a:pt x="1066938" y="3972698"/>
                  <a:pt x="737283" y="3950180"/>
                </a:cubicBezTo>
                <a:cubicBezTo>
                  <a:pt x="407628" y="3927662"/>
                  <a:pt x="363816" y="3973372"/>
                  <a:pt x="0" y="3950180"/>
                </a:cubicBezTo>
                <a:cubicBezTo>
                  <a:pt x="-4903" y="3726687"/>
                  <a:pt x="-9431" y="3556545"/>
                  <a:pt x="0" y="3291817"/>
                </a:cubicBezTo>
                <a:cubicBezTo>
                  <a:pt x="9431" y="3027089"/>
                  <a:pt x="-9620" y="2801704"/>
                  <a:pt x="0" y="2593952"/>
                </a:cubicBezTo>
                <a:cubicBezTo>
                  <a:pt x="9620" y="2386200"/>
                  <a:pt x="-28891" y="2187939"/>
                  <a:pt x="0" y="1975090"/>
                </a:cubicBezTo>
                <a:cubicBezTo>
                  <a:pt x="28891" y="1762241"/>
                  <a:pt x="-25438" y="1504637"/>
                  <a:pt x="0" y="1277225"/>
                </a:cubicBezTo>
                <a:cubicBezTo>
                  <a:pt x="25438" y="1049813"/>
                  <a:pt x="25111" y="866964"/>
                  <a:pt x="0" y="658363"/>
                </a:cubicBezTo>
                <a:cubicBezTo>
                  <a:pt x="-25111" y="449762"/>
                  <a:pt x="-25279" y="226152"/>
                  <a:pt x="0" y="0"/>
                </a:cubicBezTo>
                <a:close/>
              </a:path>
              <a:path w="5461359" h="3950180"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74574" y="231433"/>
                  <a:pt x="5437724" y="488471"/>
                  <a:pt x="5461359" y="618862"/>
                </a:cubicBezTo>
                <a:cubicBezTo>
                  <a:pt x="5484994" y="749253"/>
                  <a:pt x="5462653" y="1030437"/>
                  <a:pt x="5461359" y="1158719"/>
                </a:cubicBezTo>
                <a:cubicBezTo>
                  <a:pt x="5460065" y="1287001"/>
                  <a:pt x="5466731" y="1507695"/>
                  <a:pt x="5461359" y="1777581"/>
                </a:cubicBezTo>
                <a:cubicBezTo>
                  <a:pt x="5455987" y="2047467"/>
                  <a:pt x="5474421" y="2197354"/>
                  <a:pt x="5461359" y="2396443"/>
                </a:cubicBezTo>
                <a:cubicBezTo>
                  <a:pt x="5448297" y="2595532"/>
                  <a:pt x="5440448" y="2861103"/>
                  <a:pt x="5461359" y="3094308"/>
                </a:cubicBezTo>
                <a:cubicBezTo>
                  <a:pt x="5482270" y="3327513"/>
                  <a:pt x="5475836" y="3725149"/>
                  <a:pt x="5461359" y="3950180"/>
                </a:cubicBezTo>
                <a:cubicBezTo>
                  <a:pt x="5311886" y="3947028"/>
                  <a:pt x="5143050" y="3940780"/>
                  <a:pt x="4833303" y="3950180"/>
                </a:cubicBezTo>
                <a:cubicBezTo>
                  <a:pt x="4523556" y="3959580"/>
                  <a:pt x="4417068" y="3919138"/>
                  <a:pt x="4205246" y="3950180"/>
                </a:cubicBezTo>
                <a:cubicBezTo>
                  <a:pt x="3993424" y="3981222"/>
                  <a:pt x="3880589" y="3934443"/>
                  <a:pt x="3686417" y="3950180"/>
                </a:cubicBezTo>
                <a:cubicBezTo>
                  <a:pt x="3492245" y="3965917"/>
                  <a:pt x="3175419" y="3939582"/>
                  <a:pt x="2949134" y="3950180"/>
                </a:cubicBezTo>
                <a:cubicBezTo>
                  <a:pt x="2722849" y="3960778"/>
                  <a:pt x="2590123" y="3930714"/>
                  <a:pt x="2430305" y="3950180"/>
                </a:cubicBezTo>
                <a:cubicBezTo>
                  <a:pt x="2270487" y="3969646"/>
                  <a:pt x="2117864" y="3971493"/>
                  <a:pt x="1911476" y="3950180"/>
                </a:cubicBezTo>
                <a:cubicBezTo>
                  <a:pt x="1705088" y="3928867"/>
                  <a:pt x="1458050" y="3976060"/>
                  <a:pt x="1338033" y="3950180"/>
                </a:cubicBezTo>
                <a:cubicBezTo>
                  <a:pt x="1218016" y="3924300"/>
                  <a:pt x="809455" y="3980207"/>
                  <a:pt x="600749" y="3950180"/>
                </a:cubicBezTo>
                <a:cubicBezTo>
                  <a:pt x="392043" y="3920153"/>
                  <a:pt x="192494" y="3976060"/>
                  <a:pt x="0" y="3950180"/>
                </a:cubicBezTo>
                <a:cubicBezTo>
                  <a:pt x="21390" y="3780605"/>
                  <a:pt x="-593" y="3646183"/>
                  <a:pt x="0" y="3370820"/>
                </a:cubicBezTo>
                <a:cubicBezTo>
                  <a:pt x="593" y="3095457"/>
                  <a:pt x="13984" y="2975917"/>
                  <a:pt x="0" y="2712457"/>
                </a:cubicBezTo>
                <a:cubicBezTo>
                  <a:pt x="-13984" y="2448997"/>
                  <a:pt x="-3759" y="2349491"/>
                  <a:pt x="0" y="2133097"/>
                </a:cubicBezTo>
                <a:cubicBezTo>
                  <a:pt x="3759" y="1916703"/>
                  <a:pt x="1846" y="1591482"/>
                  <a:pt x="0" y="1435232"/>
                </a:cubicBezTo>
                <a:cubicBezTo>
                  <a:pt x="-1846" y="1278983"/>
                  <a:pt x="19778" y="1005943"/>
                  <a:pt x="0" y="855872"/>
                </a:cubicBezTo>
                <a:cubicBezTo>
                  <a:pt x="-19778" y="705801"/>
                  <a:pt x="32710" y="286593"/>
                  <a:pt x="0" y="0"/>
                </a:cubicBezTo>
                <a:close/>
              </a:path>
            </a:pathLst>
          </a:custGeom>
          <a:solidFill>
            <a:srgbClr val="97A2BD"/>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Rounded Corners 25">
            <a:extLst>
              <a:ext uri="{FF2B5EF4-FFF2-40B4-BE49-F238E27FC236}">
                <a16:creationId xmlns:a16="http://schemas.microsoft.com/office/drawing/2014/main" id="{0796A544-13AF-9B7F-3D9E-1214C1ECB4BE}"/>
              </a:ext>
            </a:extLst>
          </p:cNvPr>
          <p:cNvSpPr/>
          <p:nvPr/>
        </p:nvSpPr>
        <p:spPr>
          <a:xfrm>
            <a:off x="497187" y="2389207"/>
            <a:ext cx="5461353" cy="3944985"/>
          </a:xfrm>
          <a:custGeom>
            <a:avLst/>
            <a:gdLst>
              <a:gd name="connsiteX0" fmla="*/ 0 w 5461353"/>
              <a:gd name="connsiteY0" fmla="*/ 0 h 3944985"/>
              <a:gd name="connsiteX1" fmla="*/ 0 w 5461353"/>
              <a:gd name="connsiteY1" fmla="*/ 0 h 3944985"/>
              <a:gd name="connsiteX2" fmla="*/ 791896 w 5461353"/>
              <a:gd name="connsiteY2" fmla="*/ 0 h 3944985"/>
              <a:gd name="connsiteX3" fmla="*/ 1419952 w 5461353"/>
              <a:gd name="connsiteY3" fmla="*/ 0 h 3944985"/>
              <a:gd name="connsiteX4" fmla="*/ 1993394 w 5461353"/>
              <a:gd name="connsiteY4" fmla="*/ 0 h 3944985"/>
              <a:gd name="connsiteX5" fmla="*/ 2512222 w 5461353"/>
              <a:gd name="connsiteY5" fmla="*/ 0 h 3944985"/>
              <a:gd name="connsiteX6" fmla="*/ 3194892 w 5461353"/>
              <a:gd name="connsiteY6" fmla="*/ 0 h 3944985"/>
              <a:gd name="connsiteX7" fmla="*/ 3768334 w 5461353"/>
              <a:gd name="connsiteY7" fmla="*/ 0 h 3944985"/>
              <a:gd name="connsiteX8" fmla="*/ 4505616 w 5461353"/>
              <a:gd name="connsiteY8" fmla="*/ 0 h 3944985"/>
              <a:gd name="connsiteX9" fmla="*/ 5461353 w 5461353"/>
              <a:gd name="connsiteY9" fmla="*/ 0 h 3944985"/>
              <a:gd name="connsiteX10" fmla="*/ 5461353 w 5461353"/>
              <a:gd name="connsiteY10" fmla="*/ 0 h 3944985"/>
              <a:gd name="connsiteX11" fmla="*/ 5461353 w 5461353"/>
              <a:gd name="connsiteY11" fmla="*/ 539148 h 3944985"/>
              <a:gd name="connsiteX12" fmla="*/ 5461353 w 5461353"/>
              <a:gd name="connsiteY12" fmla="*/ 1196645 h 3944985"/>
              <a:gd name="connsiteX13" fmla="*/ 5461353 w 5461353"/>
              <a:gd name="connsiteY13" fmla="*/ 1775243 h 3944985"/>
              <a:gd name="connsiteX14" fmla="*/ 5461353 w 5461353"/>
              <a:gd name="connsiteY14" fmla="*/ 2432741 h 3944985"/>
              <a:gd name="connsiteX15" fmla="*/ 5461353 w 5461353"/>
              <a:gd name="connsiteY15" fmla="*/ 2971889 h 3944985"/>
              <a:gd name="connsiteX16" fmla="*/ 5461353 w 5461353"/>
              <a:gd name="connsiteY16" fmla="*/ 3944985 h 3944985"/>
              <a:gd name="connsiteX17" fmla="*/ 5461353 w 5461353"/>
              <a:gd name="connsiteY17" fmla="*/ 3944985 h 3944985"/>
              <a:gd name="connsiteX18" fmla="*/ 4887911 w 5461353"/>
              <a:gd name="connsiteY18" fmla="*/ 3944985 h 3944985"/>
              <a:gd name="connsiteX19" fmla="*/ 4205242 w 5461353"/>
              <a:gd name="connsiteY19" fmla="*/ 3944985 h 3944985"/>
              <a:gd name="connsiteX20" fmla="*/ 3577186 w 5461353"/>
              <a:gd name="connsiteY20" fmla="*/ 3944985 h 3944985"/>
              <a:gd name="connsiteX21" fmla="*/ 3058358 w 5461353"/>
              <a:gd name="connsiteY21" fmla="*/ 3944985 h 3944985"/>
              <a:gd name="connsiteX22" fmla="*/ 2430302 w 5461353"/>
              <a:gd name="connsiteY22" fmla="*/ 3944985 h 3944985"/>
              <a:gd name="connsiteX23" fmla="*/ 1693019 w 5461353"/>
              <a:gd name="connsiteY23" fmla="*/ 3944985 h 3944985"/>
              <a:gd name="connsiteX24" fmla="*/ 1010350 w 5461353"/>
              <a:gd name="connsiteY24" fmla="*/ 3944985 h 3944985"/>
              <a:gd name="connsiteX25" fmla="*/ 0 w 5461353"/>
              <a:gd name="connsiteY25" fmla="*/ 3944985 h 3944985"/>
              <a:gd name="connsiteX26" fmla="*/ 0 w 5461353"/>
              <a:gd name="connsiteY26" fmla="*/ 3944985 h 3944985"/>
              <a:gd name="connsiteX27" fmla="*/ 0 w 5461353"/>
              <a:gd name="connsiteY27" fmla="*/ 3405837 h 3944985"/>
              <a:gd name="connsiteX28" fmla="*/ 0 w 5461353"/>
              <a:gd name="connsiteY28" fmla="*/ 2827239 h 3944985"/>
              <a:gd name="connsiteX29" fmla="*/ 0 w 5461353"/>
              <a:gd name="connsiteY29" fmla="*/ 2130292 h 3944985"/>
              <a:gd name="connsiteX30" fmla="*/ 0 w 5461353"/>
              <a:gd name="connsiteY30" fmla="*/ 1591144 h 3944985"/>
              <a:gd name="connsiteX31" fmla="*/ 0 w 5461353"/>
              <a:gd name="connsiteY31" fmla="*/ 973096 h 3944985"/>
              <a:gd name="connsiteX32" fmla="*/ 0 w 5461353"/>
              <a:gd name="connsiteY32" fmla="*/ 0 h 394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944985"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64818" y="254157"/>
                  <a:pt x="5440869" y="388933"/>
                  <a:pt x="5461353" y="539148"/>
                </a:cubicBezTo>
                <a:cubicBezTo>
                  <a:pt x="5481837" y="689363"/>
                  <a:pt x="5454845" y="871169"/>
                  <a:pt x="5461353" y="1196645"/>
                </a:cubicBezTo>
                <a:cubicBezTo>
                  <a:pt x="5467861" y="1522121"/>
                  <a:pt x="5488935" y="1589400"/>
                  <a:pt x="5461353" y="1775243"/>
                </a:cubicBezTo>
                <a:cubicBezTo>
                  <a:pt x="5433771" y="1961086"/>
                  <a:pt x="5479598" y="2269809"/>
                  <a:pt x="5461353" y="2432741"/>
                </a:cubicBezTo>
                <a:cubicBezTo>
                  <a:pt x="5443108" y="2595673"/>
                  <a:pt x="5445231" y="2824846"/>
                  <a:pt x="5461353" y="2971889"/>
                </a:cubicBezTo>
                <a:cubicBezTo>
                  <a:pt x="5477475" y="3118932"/>
                  <a:pt x="5470998" y="3471880"/>
                  <a:pt x="5461353" y="3944985"/>
                </a:cubicBezTo>
                <a:lnTo>
                  <a:pt x="5461353" y="3944985"/>
                </a:lnTo>
                <a:cubicBezTo>
                  <a:pt x="5238880" y="3936398"/>
                  <a:pt x="5041401" y="3916546"/>
                  <a:pt x="4887911" y="3944985"/>
                </a:cubicBezTo>
                <a:cubicBezTo>
                  <a:pt x="4734421" y="3973424"/>
                  <a:pt x="4500958" y="3974561"/>
                  <a:pt x="4205242" y="3944985"/>
                </a:cubicBezTo>
                <a:cubicBezTo>
                  <a:pt x="3909526" y="3915409"/>
                  <a:pt x="3729356" y="3931344"/>
                  <a:pt x="3577186" y="3944985"/>
                </a:cubicBezTo>
                <a:cubicBezTo>
                  <a:pt x="3425016" y="3958626"/>
                  <a:pt x="3205077" y="3941966"/>
                  <a:pt x="3058358" y="3944985"/>
                </a:cubicBezTo>
                <a:cubicBezTo>
                  <a:pt x="2911639" y="3948004"/>
                  <a:pt x="2676384" y="3971697"/>
                  <a:pt x="2430302" y="3944985"/>
                </a:cubicBezTo>
                <a:cubicBezTo>
                  <a:pt x="2184220" y="3918273"/>
                  <a:pt x="1945052" y="3961909"/>
                  <a:pt x="1693019" y="3944985"/>
                </a:cubicBezTo>
                <a:cubicBezTo>
                  <a:pt x="1440986" y="3928061"/>
                  <a:pt x="1150111" y="3968839"/>
                  <a:pt x="1010350" y="3944985"/>
                </a:cubicBezTo>
                <a:cubicBezTo>
                  <a:pt x="870589" y="3921131"/>
                  <a:pt x="409237" y="3946234"/>
                  <a:pt x="0" y="3944985"/>
                </a:cubicBezTo>
                <a:lnTo>
                  <a:pt x="0" y="3944985"/>
                </a:lnTo>
                <a:cubicBezTo>
                  <a:pt x="19676" y="3768216"/>
                  <a:pt x="7290" y="3590379"/>
                  <a:pt x="0" y="3405837"/>
                </a:cubicBezTo>
                <a:cubicBezTo>
                  <a:pt x="-7290" y="3221295"/>
                  <a:pt x="-17645" y="2953555"/>
                  <a:pt x="0" y="2827239"/>
                </a:cubicBezTo>
                <a:cubicBezTo>
                  <a:pt x="17645" y="2700923"/>
                  <a:pt x="29006" y="2478302"/>
                  <a:pt x="0" y="2130292"/>
                </a:cubicBezTo>
                <a:cubicBezTo>
                  <a:pt x="-29006" y="1782282"/>
                  <a:pt x="18652" y="1804208"/>
                  <a:pt x="0" y="1591144"/>
                </a:cubicBezTo>
                <a:cubicBezTo>
                  <a:pt x="-18652" y="1378080"/>
                  <a:pt x="25197" y="1188881"/>
                  <a:pt x="0" y="973096"/>
                </a:cubicBezTo>
                <a:cubicBezTo>
                  <a:pt x="-25197" y="757311"/>
                  <a:pt x="-8835" y="287612"/>
                  <a:pt x="0" y="0"/>
                </a:cubicBezTo>
                <a:close/>
              </a:path>
              <a:path w="5461353" h="3944985"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6272" y="213586"/>
                  <a:pt x="5453370" y="396144"/>
                  <a:pt x="5461353" y="618048"/>
                </a:cubicBezTo>
                <a:cubicBezTo>
                  <a:pt x="5469336" y="839952"/>
                  <a:pt x="5434827" y="1188850"/>
                  <a:pt x="5461353" y="1354445"/>
                </a:cubicBezTo>
                <a:cubicBezTo>
                  <a:pt x="5487879" y="1520040"/>
                  <a:pt x="5450250" y="1752831"/>
                  <a:pt x="5461353" y="1933043"/>
                </a:cubicBezTo>
                <a:cubicBezTo>
                  <a:pt x="5472456" y="2113255"/>
                  <a:pt x="5487780" y="2286182"/>
                  <a:pt x="5461353" y="2590540"/>
                </a:cubicBezTo>
                <a:cubicBezTo>
                  <a:pt x="5434926" y="2894898"/>
                  <a:pt x="5446915" y="3001290"/>
                  <a:pt x="5461353" y="3129688"/>
                </a:cubicBezTo>
                <a:cubicBezTo>
                  <a:pt x="5475791" y="3258086"/>
                  <a:pt x="5490169" y="3649781"/>
                  <a:pt x="5461353" y="3944985"/>
                </a:cubicBezTo>
                <a:lnTo>
                  <a:pt x="5461353" y="3944985"/>
                </a:lnTo>
                <a:cubicBezTo>
                  <a:pt x="5229711" y="3924233"/>
                  <a:pt x="5055871" y="3952335"/>
                  <a:pt x="4887911" y="3944985"/>
                </a:cubicBezTo>
                <a:cubicBezTo>
                  <a:pt x="4719951" y="3937635"/>
                  <a:pt x="4440828" y="3972159"/>
                  <a:pt x="4259855" y="3944985"/>
                </a:cubicBezTo>
                <a:cubicBezTo>
                  <a:pt x="4078882" y="3917811"/>
                  <a:pt x="3931066" y="3917613"/>
                  <a:pt x="3686413" y="3944985"/>
                </a:cubicBezTo>
                <a:cubicBezTo>
                  <a:pt x="3441760" y="3972357"/>
                  <a:pt x="3372027" y="3915213"/>
                  <a:pt x="3058358" y="3944985"/>
                </a:cubicBezTo>
                <a:cubicBezTo>
                  <a:pt x="2744689" y="3974757"/>
                  <a:pt x="2531520" y="3916655"/>
                  <a:pt x="2375689" y="3944985"/>
                </a:cubicBezTo>
                <a:cubicBezTo>
                  <a:pt x="2219858" y="3973315"/>
                  <a:pt x="1841665" y="3941839"/>
                  <a:pt x="1693019" y="3944985"/>
                </a:cubicBezTo>
                <a:cubicBezTo>
                  <a:pt x="1544373" y="3948132"/>
                  <a:pt x="1298560" y="3959801"/>
                  <a:pt x="1064964" y="3944985"/>
                </a:cubicBezTo>
                <a:cubicBezTo>
                  <a:pt x="831368" y="3930169"/>
                  <a:pt x="328842" y="3912064"/>
                  <a:pt x="0" y="3944985"/>
                </a:cubicBezTo>
                <a:lnTo>
                  <a:pt x="0" y="3944985"/>
                </a:lnTo>
                <a:cubicBezTo>
                  <a:pt x="26307" y="3654549"/>
                  <a:pt x="-25065" y="3505459"/>
                  <a:pt x="0" y="3248038"/>
                </a:cubicBezTo>
                <a:cubicBezTo>
                  <a:pt x="25065" y="2990617"/>
                  <a:pt x="686" y="2901159"/>
                  <a:pt x="0" y="2629990"/>
                </a:cubicBezTo>
                <a:cubicBezTo>
                  <a:pt x="-686" y="2358821"/>
                  <a:pt x="-20550" y="2145901"/>
                  <a:pt x="0" y="1972493"/>
                </a:cubicBezTo>
                <a:cubicBezTo>
                  <a:pt x="20550" y="1799085"/>
                  <a:pt x="19243" y="1549658"/>
                  <a:pt x="0" y="1433345"/>
                </a:cubicBezTo>
                <a:cubicBezTo>
                  <a:pt x="-19243" y="1317032"/>
                  <a:pt x="27756" y="1023727"/>
                  <a:pt x="0" y="775847"/>
                </a:cubicBezTo>
                <a:cubicBezTo>
                  <a:pt x="-27756" y="527967"/>
                  <a:pt x="7839" y="183756"/>
                  <a:pt x="0" y="0"/>
                </a:cubicBezTo>
                <a:close/>
              </a:path>
            </a:pathLst>
          </a:custGeom>
          <a:solidFill>
            <a:srgbClr val="97A2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D215CB58-7C52-DEC5-DCFE-3579ABE030B2}"/>
              </a:ext>
            </a:extLst>
          </p:cNvPr>
          <p:cNvSpPr/>
          <p:nvPr/>
        </p:nvSpPr>
        <p:spPr>
          <a:xfrm>
            <a:off x="497184" y="2458819"/>
            <a:ext cx="5461359" cy="3880276"/>
          </a:xfrm>
          <a:custGeom>
            <a:avLst/>
            <a:gdLst>
              <a:gd name="connsiteX0" fmla="*/ 0 w 5461359"/>
              <a:gd name="connsiteY0" fmla="*/ 0 h 3880276"/>
              <a:gd name="connsiteX1" fmla="*/ 737283 w 5461359"/>
              <a:gd name="connsiteY1" fmla="*/ 0 h 3880276"/>
              <a:gd name="connsiteX2" fmla="*/ 1310726 w 5461359"/>
              <a:gd name="connsiteY2" fmla="*/ 0 h 3880276"/>
              <a:gd name="connsiteX3" fmla="*/ 2048010 w 5461359"/>
              <a:gd name="connsiteY3" fmla="*/ 0 h 3880276"/>
              <a:gd name="connsiteX4" fmla="*/ 2566839 w 5461359"/>
              <a:gd name="connsiteY4" fmla="*/ 0 h 3880276"/>
              <a:gd name="connsiteX5" fmla="*/ 3140281 w 5461359"/>
              <a:gd name="connsiteY5" fmla="*/ 0 h 3880276"/>
              <a:gd name="connsiteX6" fmla="*/ 3822951 w 5461359"/>
              <a:gd name="connsiteY6" fmla="*/ 0 h 3880276"/>
              <a:gd name="connsiteX7" fmla="*/ 4560235 w 5461359"/>
              <a:gd name="connsiteY7" fmla="*/ 0 h 3880276"/>
              <a:gd name="connsiteX8" fmla="*/ 5461359 w 5461359"/>
              <a:gd name="connsiteY8" fmla="*/ 0 h 3880276"/>
              <a:gd name="connsiteX9" fmla="*/ 5461359 w 5461359"/>
              <a:gd name="connsiteY9" fmla="*/ 607910 h 3880276"/>
              <a:gd name="connsiteX10" fmla="*/ 5461359 w 5461359"/>
              <a:gd name="connsiteY10" fmla="*/ 1138214 h 3880276"/>
              <a:gd name="connsiteX11" fmla="*/ 5461359 w 5461359"/>
              <a:gd name="connsiteY11" fmla="*/ 1746124 h 3880276"/>
              <a:gd name="connsiteX12" fmla="*/ 5461359 w 5461359"/>
              <a:gd name="connsiteY12" fmla="*/ 2354034 h 3880276"/>
              <a:gd name="connsiteX13" fmla="*/ 5461359 w 5461359"/>
              <a:gd name="connsiteY13" fmla="*/ 3039550 h 3880276"/>
              <a:gd name="connsiteX14" fmla="*/ 5461359 w 5461359"/>
              <a:gd name="connsiteY14" fmla="*/ 3880276 h 3880276"/>
              <a:gd name="connsiteX15" fmla="*/ 4833303 w 5461359"/>
              <a:gd name="connsiteY15" fmla="*/ 3880276 h 3880276"/>
              <a:gd name="connsiteX16" fmla="*/ 4205246 w 5461359"/>
              <a:gd name="connsiteY16" fmla="*/ 3880276 h 3880276"/>
              <a:gd name="connsiteX17" fmla="*/ 3686417 w 5461359"/>
              <a:gd name="connsiteY17" fmla="*/ 3880276 h 3880276"/>
              <a:gd name="connsiteX18" fmla="*/ 2949134 w 5461359"/>
              <a:gd name="connsiteY18" fmla="*/ 3880276 h 3880276"/>
              <a:gd name="connsiteX19" fmla="*/ 2430305 w 5461359"/>
              <a:gd name="connsiteY19" fmla="*/ 3880276 h 3880276"/>
              <a:gd name="connsiteX20" fmla="*/ 1911476 w 5461359"/>
              <a:gd name="connsiteY20" fmla="*/ 3880276 h 3880276"/>
              <a:gd name="connsiteX21" fmla="*/ 1338033 w 5461359"/>
              <a:gd name="connsiteY21" fmla="*/ 3880276 h 3880276"/>
              <a:gd name="connsiteX22" fmla="*/ 600749 w 5461359"/>
              <a:gd name="connsiteY22" fmla="*/ 3880276 h 3880276"/>
              <a:gd name="connsiteX23" fmla="*/ 0 w 5461359"/>
              <a:gd name="connsiteY23" fmla="*/ 3880276 h 3880276"/>
              <a:gd name="connsiteX24" fmla="*/ 0 w 5461359"/>
              <a:gd name="connsiteY24" fmla="*/ 3311169 h 3880276"/>
              <a:gd name="connsiteX25" fmla="*/ 0 w 5461359"/>
              <a:gd name="connsiteY25" fmla="*/ 2664456 h 3880276"/>
              <a:gd name="connsiteX26" fmla="*/ 0 w 5461359"/>
              <a:gd name="connsiteY26" fmla="*/ 2095349 h 3880276"/>
              <a:gd name="connsiteX27" fmla="*/ 0 w 5461359"/>
              <a:gd name="connsiteY27" fmla="*/ 1409834 h 3880276"/>
              <a:gd name="connsiteX28" fmla="*/ 0 w 5461359"/>
              <a:gd name="connsiteY28" fmla="*/ 840726 h 3880276"/>
              <a:gd name="connsiteX29" fmla="*/ 0 w 5461359"/>
              <a:gd name="connsiteY29" fmla="*/ 0 h 388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descr="A blue and white logo&#10;&#10;AI-generated content may be incorrect.">
            <a:extLst>
              <a:ext uri="{FF2B5EF4-FFF2-40B4-BE49-F238E27FC236}">
                <a16:creationId xmlns:a16="http://schemas.microsoft.com/office/drawing/2014/main" id="{82E05DDB-7E5C-2EBE-F7B6-B8827FA360DB}"/>
              </a:ext>
            </a:extLst>
          </p:cNvPr>
          <p:cNvPicPr>
            <a:picLocks noChangeAspect="1"/>
          </p:cNvPicPr>
          <p:nvPr/>
        </p:nvPicPr>
        <p:blipFill>
          <a:blip r:embed="rId5">
            <a:alphaModFix/>
          </a:blip>
          <a:stretch>
            <a:fillRect/>
          </a:stretch>
        </p:blipFill>
        <p:spPr>
          <a:xfrm>
            <a:off x="11027227" y="89320"/>
            <a:ext cx="667587" cy="696082"/>
          </a:xfrm>
          <a:prstGeom prst="rect">
            <a:avLst/>
          </a:prstGeom>
        </p:spPr>
      </p:pic>
      <p:sp>
        <p:nvSpPr>
          <p:cNvPr id="2" name="Rectangle 1">
            <a:extLst>
              <a:ext uri="{FF2B5EF4-FFF2-40B4-BE49-F238E27FC236}">
                <a16:creationId xmlns:a16="http://schemas.microsoft.com/office/drawing/2014/main" id="{4B945F61-10D6-A94F-27FD-91CFD0D05FDC}"/>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 standarden, kan I blandt andet læse om hver indikator, hvor I finder info om værdien og relevansen for den pågældende indikator. Indsæt en indikator samt beskrivende tekst om, hvad data viser, hvad årsagen til udviklingen er, hvad jeres forventninger er til fremtidig udvikling, hvilke konkrete handlinger der er taget/tages på baggrund af indsigten i data mm.</a:t>
            </a:r>
            <a:endParaRPr lang="da-DK" sz="1100" i="1"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a:extLst>
              <a:ext uri="{FF2B5EF4-FFF2-40B4-BE49-F238E27FC236}">
                <a16:creationId xmlns:a16="http://schemas.microsoft.com/office/drawing/2014/main" id="{C9C3BB18-E924-4E94-5879-E10633277871}"/>
              </a:ext>
            </a:extLst>
          </p:cNvPr>
          <p:cNvSpPr/>
          <p:nvPr/>
        </p:nvSpPr>
        <p:spPr>
          <a:xfrm>
            <a:off x="6233454" y="2458819"/>
            <a:ext cx="5461359" cy="3880276"/>
          </a:xfrm>
          <a:custGeom>
            <a:avLst/>
            <a:gdLst>
              <a:gd name="connsiteX0" fmla="*/ 0 w 5461359"/>
              <a:gd name="connsiteY0" fmla="*/ 0 h 3880276"/>
              <a:gd name="connsiteX1" fmla="*/ 737283 w 5461359"/>
              <a:gd name="connsiteY1" fmla="*/ 0 h 3880276"/>
              <a:gd name="connsiteX2" fmla="*/ 1310726 w 5461359"/>
              <a:gd name="connsiteY2" fmla="*/ 0 h 3880276"/>
              <a:gd name="connsiteX3" fmla="*/ 2048010 w 5461359"/>
              <a:gd name="connsiteY3" fmla="*/ 0 h 3880276"/>
              <a:gd name="connsiteX4" fmla="*/ 2566839 w 5461359"/>
              <a:gd name="connsiteY4" fmla="*/ 0 h 3880276"/>
              <a:gd name="connsiteX5" fmla="*/ 3140281 w 5461359"/>
              <a:gd name="connsiteY5" fmla="*/ 0 h 3880276"/>
              <a:gd name="connsiteX6" fmla="*/ 3822951 w 5461359"/>
              <a:gd name="connsiteY6" fmla="*/ 0 h 3880276"/>
              <a:gd name="connsiteX7" fmla="*/ 4560235 w 5461359"/>
              <a:gd name="connsiteY7" fmla="*/ 0 h 3880276"/>
              <a:gd name="connsiteX8" fmla="*/ 5461359 w 5461359"/>
              <a:gd name="connsiteY8" fmla="*/ 0 h 3880276"/>
              <a:gd name="connsiteX9" fmla="*/ 5461359 w 5461359"/>
              <a:gd name="connsiteY9" fmla="*/ 607910 h 3880276"/>
              <a:gd name="connsiteX10" fmla="*/ 5461359 w 5461359"/>
              <a:gd name="connsiteY10" fmla="*/ 1138214 h 3880276"/>
              <a:gd name="connsiteX11" fmla="*/ 5461359 w 5461359"/>
              <a:gd name="connsiteY11" fmla="*/ 1746124 h 3880276"/>
              <a:gd name="connsiteX12" fmla="*/ 5461359 w 5461359"/>
              <a:gd name="connsiteY12" fmla="*/ 2354034 h 3880276"/>
              <a:gd name="connsiteX13" fmla="*/ 5461359 w 5461359"/>
              <a:gd name="connsiteY13" fmla="*/ 3039550 h 3880276"/>
              <a:gd name="connsiteX14" fmla="*/ 5461359 w 5461359"/>
              <a:gd name="connsiteY14" fmla="*/ 3880276 h 3880276"/>
              <a:gd name="connsiteX15" fmla="*/ 4833303 w 5461359"/>
              <a:gd name="connsiteY15" fmla="*/ 3880276 h 3880276"/>
              <a:gd name="connsiteX16" fmla="*/ 4205246 w 5461359"/>
              <a:gd name="connsiteY16" fmla="*/ 3880276 h 3880276"/>
              <a:gd name="connsiteX17" fmla="*/ 3686417 w 5461359"/>
              <a:gd name="connsiteY17" fmla="*/ 3880276 h 3880276"/>
              <a:gd name="connsiteX18" fmla="*/ 2949134 w 5461359"/>
              <a:gd name="connsiteY18" fmla="*/ 3880276 h 3880276"/>
              <a:gd name="connsiteX19" fmla="*/ 2430305 w 5461359"/>
              <a:gd name="connsiteY19" fmla="*/ 3880276 h 3880276"/>
              <a:gd name="connsiteX20" fmla="*/ 1911476 w 5461359"/>
              <a:gd name="connsiteY20" fmla="*/ 3880276 h 3880276"/>
              <a:gd name="connsiteX21" fmla="*/ 1338033 w 5461359"/>
              <a:gd name="connsiteY21" fmla="*/ 3880276 h 3880276"/>
              <a:gd name="connsiteX22" fmla="*/ 600749 w 5461359"/>
              <a:gd name="connsiteY22" fmla="*/ 3880276 h 3880276"/>
              <a:gd name="connsiteX23" fmla="*/ 0 w 5461359"/>
              <a:gd name="connsiteY23" fmla="*/ 3880276 h 3880276"/>
              <a:gd name="connsiteX24" fmla="*/ 0 w 5461359"/>
              <a:gd name="connsiteY24" fmla="*/ 3311169 h 3880276"/>
              <a:gd name="connsiteX25" fmla="*/ 0 w 5461359"/>
              <a:gd name="connsiteY25" fmla="*/ 2664456 h 3880276"/>
              <a:gd name="connsiteX26" fmla="*/ 0 w 5461359"/>
              <a:gd name="connsiteY26" fmla="*/ 2095349 h 3880276"/>
              <a:gd name="connsiteX27" fmla="*/ 0 w 5461359"/>
              <a:gd name="connsiteY27" fmla="*/ 1409834 h 3880276"/>
              <a:gd name="connsiteX28" fmla="*/ 0 w 5461359"/>
              <a:gd name="connsiteY28" fmla="*/ 840726 h 3880276"/>
              <a:gd name="connsiteX29" fmla="*/ 0 w 5461359"/>
              <a:gd name="connsiteY29" fmla="*/ 0 h 388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Rectangle: Rounded Corners 3">
            <a:extLst>
              <a:ext uri="{FF2B5EF4-FFF2-40B4-BE49-F238E27FC236}">
                <a16:creationId xmlns:a16="http://schemas.microsoft.com/office/drawing/2014/main" id="{FD7B3F65-C08D-2D0C-6337-B53F06185100}"/>
              </a:ext>
            </a:extLst>
          </p:cNvPr>
          <p:cNvSpPr/>
          <p:nvPr/>
        </p:nvSpPr>
        <p:spPr>
          <a:xfrm>
            <a:off x="6514471" y="2810496"/>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dashboard]</a:t>
            </a:r>
          </a:p>
        </p:txBody>
      </p:sp>
      <p:sp>
        <p:nvSpPr>
          <p:cNvPr id="16" name="Rectangle: Rounded Corners 3">
            <a:extLst>
              <a:ext uri="{FF2B5EF4-FFF2-40B4-BE49-F238E27FC236}">
                <a16:creationId xmlns:a16="http://schemas.microsoft.com/office/drawing/2014/main" id="{568F0A8D-8D36-392C-6543-3A36DB936D98}"/>
              </a:ext>
            </a:extLst>
          </p:cNvPr>
          <p:cNvSpPr/>
          <p:nvPr/>
        </p:nvSpPr>
        <p:spPr>
          <a:xfrm>
            <a:off x="778200" y="2810496"/>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a:t>
            </a:r>
            <a:r>
              <a:rPr lang="da-DK" sz="1200" err="1">
                <a:solidFill>
                  <a:srgbClr val="005850"/>
                </a:solidFill>
                <a:latin typeface="Verdana" panose="020B0604030504040204" pitchFamily="34" charset="0"/>
                <a:ea typeface="Verdana" panose="020B0604030504040204" pitchFamily="34" charset="0"/>
              </a:rPr>
              <a:t>dashboard</a:t>
            </a:r>
            <a:r>
              <a:rPr lang="da-DK" sz="1200">
                <a:solidFill>
                  <a:srgbClr val="005850"/>
                </a:solidFill>
                <a:latin typeface="Verdana" panose="020B0604030504040204" pitchFamily="34" charset="0"/>
                <a:ea typeface="Verdana" panose="020B0604030504040204" pitchFamily="34" charset="0"/>
              </a:rPr>
              <a:t>]</a:t>
            </a:r>
          </a:p>
        </p:txBody>
      </p:sp>
    </p:spTree>
    <p:extLst>
      <p:ext uri="{BB962C8B-B14F-4D97-AF65-F5344CB8AC3E}">
        <p14:creationId xmlns:p14="http://schemas.microsoft.com/office/powerpoint/2010/main" val="6649680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74CF0-A297-B69B-F96C-E2FCE535388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548751A-39FD-3953-35B6-8F88FD4931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3548751A-39FD-3953-35B6-8F88FD493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1D0B46D6-52C3-5570-3311-8108394958A2}"/>
              </a:ext>
            </a:extLst>
          </p:cNvPr>
          <p:cNvSpPr>
            <a:spLocks noGrp="1"/>
          </p:cNvSpPr>
          <p:nvPr>
            <p:ph type="sldNum" sz="quarter" idx="12"/>
          </p:nvPr>
        </p:nvSpPr>
        <p:spPr/>
        <p:txBody>
          <a:bodyPr/>
          <a:lstStyle/>
          <a:p>
            <a:fld id="{D1CF6110-3358-3240-B3E6-2B2529506D05}" type="slidenum">
              <a:rPr lang="da-DK" smtClean="0"/>
              <a:t>26</a:t>
            </a:fld>
            <a:endParaRPr lang="da-DK"/>
          </a:p>
        </p:txBody>
      </p:sp>
      <p:sp>
        <p:nvSpPr>
          <p:cNvPr id="14" name="Title 1">
            <a:extLst>
              <a:ext uri="{FF2B5EF4-FFF2-40B4-BE49-F238E27FC236}">
                <a16:creationId xmlns:a16="http://schemas.microsoft.com/office/drawing/2014/main" id="{8C700633-BAD0-F47D-504A-03B684A3222B}"/>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2]</a:t>
            </a:r>
            <a:endParaRPr lang="da-DK" sz="4000" dirty="0">
              <a:solidFill>
                <a:srgbClr val="005850"/>
              </a:solidFill>
              <a:latin typeface="Verdana" panose="020B0604030504040204" pitchFamily="34" charset="0"/>
              <a:ea typeface="Verdana" panose="020B0604030504040204" pitchFamily="34" charset="0"/>
            </a:endParaRPr>
          </a:p>
        </p:txBody>
      </p:sp>
      <p:sp>
        <p:nvSpPr>
          <p:cNvPr id="29" name="Rectangle: Rounded Corners 28">
            <a:extLst>
              <a:ext uri="{FF2B5EF4-FFF2-40B4-BE49-F238E27FC236}">
                <a16:creationId xmlns:a16="http://schemas.microsoft.com/office/drawing/2014/main" id="{416BB0FC-6018-A356-48C2-2E678CC3FF8B}"/>
              </a:ext>
            </a:extLst>
          </p:cNvPr>
          <p:cNvSpPr/>
          <p:nvPr/>
        </p:nvSpPr>
        <p:spPr>
          <a:xfrm>
            <a:off x="6233458" y="2611219"/>
            <a:ext cx="5461353" cy="3722973"/>
          </a:xfrm>
          <a:custGeom>
            <a:avLst/>
            <a:gdLst>
              <a:gd name="connsiteX0" fmla="*/ 0 w 5461353"/>
              <a:gd name="connsiteY0" fmla="*/ 0 h 3722973"/>
              <a:gd name="connsiteX1" fmla="*/ 0 w 5461353"/>
              <a:gd name="connsiteY1" fmla="*/ 0 h 3722973"/>
              <a:gd name="connsiteX2" fmla="*/ 791896 w 5461353"/>
              <a:gd name="connsiteY2" fmla="*/ 0 h 3722973"/>
              <a:gd name="connsiteX3" fmla="*/ 1419952 w 5461353"/>
              <a:gd name="connsiteY3" fmla="*/ 0 h 3722973"/>
              <a:gd name="connsiteX4" fmla="*/ 1993394 w 5461353"/>
              <a:gd name="connsiteY4" fmla="*/ 0 h 3722973"/>
              <a:gd name="connsiteX5" fmla="*/ 2512222 w 5461353"/>
              <a:gd name="connsiteY5" fmla="*/ 0 h 3722973"/>
              <a:gd name="connsiteX6" fmla="*/ 3194892 w 5461353"/>
              <a:gd name="connsiteY6" fmla="*/ 0 h 3722973"/>
              <a:gd name="connsiteX7" fmla="*/ 3768334 w 5461353"/>
              <a:gd name="connsiteY7" fmla="*/ 0 h 3722973"/>
              <a:gd name="connsiteX8" fmla="*/ 4505616 w 5461353"/>
              <a:gd name="connsiteY8" fmla="*/ 0 h 3722973"/>
              <a:gd name="connsiteX9" fmla="*/ 5461353 w 5461353"/>
              <a:gd name="connsiteY9" fmla="*/ 0 h 3722973"/>
              <a:gd name="connsiteX10" fmla="*/ 5461353 w 5461353"/>
              <a:gd name="connsiteY10" fmla="*/ 0 h 3722973"/>
              <a:gd name="connsiteX11" fmla="*/ 5461353 w 5461353"/>
              <a:gd name="connsiteY11" fmla="*/ 508806 h 3722973"/>
              <a:gd name="connsiteX12" fmla="*/ 5461353 w 5461353"/>
              <a:gd name="connsiteY12" fmla="*/ 1129302 h 3722973"/>
              <a:gd name="connsiteX13" fmla="*/ 5461353 w 5461353"/>
              <a:gd name="connsiteY13" fmla="*/ 1675338 h 3722973"/>
              <a:gd name="connsiteX14" fmla="*/ 5461353 w 5461353"/>
              <a:gd name="connsiteY14" fmla="*/ 2295833 h 3722973"/>
              <a:gd name="connsiteX15" fmla="*/ 5461353 w 5461353"/>
              <a:gd name="connsiteY15" fmla="*/ 2804640 h 3722973"/>
              <a:gd name="connsiteX16" fmla="*/ 5461353 w 5461353"/>
              <a:gd name="connsiteY16" fmla="*/ 3722973 h 3722973"/>
              <a:gd name="connsiteX17" fmla="*/ 5461353 w 5461353"/>
              <a:gd name="connsiteY17" fmla="*/ 3722973 h 3722973"/>
              <a:gd name="connsiteX18" fmla="*/ 4887911 w 5461353"/>
              <a:gd name="connsiteY18" fmla="*/ 3722973 h 3722973"/>
              <a:gd name="connsiteX19" fmla="*/ 4205242 w 5461353"/>
              <a:gd name="connsiteY19" fmla="*/ 3722973 h 3722973"/>
              <a:gd name="connsiteX20" fmla="*/ 3577186 w 5461353"/>
              <a:gd name="connsiteY20" fmla="*/ 3722973 h 3722973"/>
              <a:gd name="connsiteX21" fmla="*/ 3058358 w 5461353"/>
              <a:gd name="connsiteY21" fmla="*/ 3722973 h 3722973"/>
              <a:gd name="connsiteX22" fmla="*/ 2430302 w 5461353"/>
              <a:gd name="connsiteY22" fmla="*/ 3722973 h 3722973"/>
              <a:gd name="connsiteX23" fmla="*/ 1693019 w 5461353"/>
              <a:gd name="connsiteY23" fmla="*/ 3722973 h 3722973"/>
              <a:gd name="connsiteX24" fmla="*/ 1010350 w 5461353"/>
              <a:gd name="connsiteY24" fmla="*/ 3722973 h 3722973"/>
              <a:gd name="connsiteX25" fmla="*/ 0 w 5461353"/>
              <a:gd name="connsiteY25" fmla="*/ 3722973 h 3722973"/>
              <a:gd name="connsiteX26" fmla="*/ 0 w 5461353"/>
              <a:gd name="connsiteY26" fmla="*/ 3722973 h 3722973"/>
              <a:gd name="connsiteX27" fmla="*/ 0 w 5461353"/>
              <a:gd name="connsiteY27" fmla="*/ 3214167 h 3722973"/>
              <a:gd name="connsiteX28" fmla="*/ 0 w 5461353"/>
              <a:gd name="connsiteY28" fmla="*/ 2668131 h 3722973"/>
              <a:gd name="connsiteX29" fmla="*/ 0 w 5461353"/>
              <a:gd name="connsiteY29" fmla="*/ 2010405 h 3722973"/>
              <a:gd name="connsiteX30" fmla="*/ 0 w 5461353"/>
              <a:gd name="connsiteY30" fmla="*/ 1501599 h 3722973"/>
              <a:gd name="connsiteX31" fmla="*/ 0 w 5461353"/>
              <a:gd name="connsiteY31" fmla="*/ 918333 h 3722973"/>
              <a:gd name="connsiteX32" fmla="*/ 0 w 5461353"/>
              <a:gd name="connsiteY32" fmla="*/ 0 h 372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7229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8869" y="229187"/>
                  <a:pt x="5452567" y="365366"/>
                  <a:pt x="5461353" y="508806"/>
                </a:cubicBezTo>
                <a:cubicBezTo>
                  <a:pt x="5470139" y="652246"/>
                  <a:pt x="5447779" y="913337"/>
                  <a:pt x="5461353" y="1129302"/>
                </a:cubicBezTo>
                <a:cubicBezTo>
                  <a:pt x="5474927" y="1345267"/>
                  <a:pt x="5455723" y="1500536"/>
                  <a:pt x="5461353" y="1675338"/>
                </a:cubicBezTo>
                <a:cubicBezTo>
                  <a:pt x="5466983" y="1850140"/>
                  <a:pt x="5443164" y="2125656"/>
                  <a:pt x="5461353" y="2295833"/>
                </a:cubicBezTo>
                <a:cubicBezTo>
                  <a:pt x="5479542" y="2466010"/>
                  <a:pt x="5450386" y="2639924"/>
                  <a:pt x="5461353" y="2804640"/>
                </a:cubicBezTo>
                <a:cubicBezTo>
                  <a:pt x="5472320" y="2969356"/>
                  <a:pt x="5440844" y="3332482"/>
                  <a:pt x="5461353" y="3722973"/>
                </a:cubicBezTo>
                <a:lnTo>
                  <a:pt x="5461353" y="3722973"/>
                </a:lnTo>
                <a:cubicBezTo>
                  <a:pt x="5238880" y="3714386"/>
                  <a:pt x="5041401" y="3694534"/>
                  <a:pt x="4887911" y="3722973"/>
                </a:cubicBezTo>
                <a:cubicBezTo>
                  <a:pt x="4734421" y="3751412"/>
                  <a:pt x="4500958" y="3752549"/>
                  <a:pt x="4205242" y="3722973"/>
                </a:cubicBezTo>
                <a:cubicBezTo>
                  <a:pt x="3909526" y="3693397"/>
                  <a:pt x="3729356" y="3709332"/>
                  <a:pt x="3577186" y="3722973"/>
                </a:cubicBezTo>
                <a:cubicBezTo>
                  <a:pt x="3425016" y="3736614"/>
                  <a:pt x="3205077" y="3719954"/>
                  <a:pt x="3058358" y="3722973"/>
                </a:cubicBezTo>
                <a:cubicBezTo>
                  <a:pt x="2911639" y="3725992"/>
                  <a:pt x="2676384" y="3749685"/>
                  <a:pt x="2430302" y="3722973"/>
                </a:cubicBezTo>
                <a:cubicBezTo>
                  <a:pt x="2184220" y="3696261"/>
                  <a:pt x="1945052" y="3739897"/>
                  <a:pt x="1693019" y="3722973"/>
                </a:cubicBezTo>
                <a:cubicBezTo>
                  <a:pt x="1440986" y="3706049"/>
                  <a:pt x="1150111" y="3746827"/>
                  <a:pt x="1010350" y="3722973"/>
                </a:cubicBezTo>
                <a:cubicBezTo>
                  <a:pt x="870589" y="3699119"/>
                  <a:pt x="409237" y="3724222"/>
                  <a:pt x="0" y="3722973"/>
                </a:cubicBezTo>
                <a:lnTo>
                  <a:pt x="0" y="3722973"/>
                </a:lnTo>
                <a:cubicBezTo>
                  <a:pt x="2743" y="3486536"/>
                  <a:pt x="8540" y="3335445"/>
                  <a:pt x="0" y="3214167"/>
                </a:cubicBezTo>
                <a:cubicBezTo>
                  <a:pt x="-8540" y="3092889"/>
                  <a:pt x="15264" y="2822416"/>
                  <a:pt x="0" y="2668131"/>
                </a:cubicBezTo>
                <a:cubicBezTo>
                  <a:pt x="-15264" y="2513846"/>
                  <a:pt x="-29012" y="2238141"/>
                  <a:pt x="0" y="2010405"/>
                </a:cubicBezTo>
                <a:cubicBezTo>
                  <a:pt x="29012" y="1782669"/>
                  <a:pt x="5214" y="1664840"/>
                  <a:pt x="0" y="1501599"/>
                </a:cubicBezTo>
                <a:cubicBezTo>
                  <a:pt x="-5214" y="1338358"/>
                  <a:pt x="-6714" y="1209052"/>
                  <a:pt x="0" y="918333"/>
                </a:cubicBezTo>
                <a:cubicBezTo>
                  <a:pt x="6714" y="627614"/>
                  <a:pt x="-12356" y="346867"/>
                  <a:pt x="0" y="0"/>
                </a:cubicBezTo>
                <a:close/>
              </a:path>
              <a:path w="5461353" h="37229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2472" y="122234"/>
                  <a:pt x="5467096" y="310078"/>
                  <a:pt x="5461353" y="583266"/>
                </a:cubicBezTo>
                <a:cubicBezTo>
                  <a:pt x="5455610" y="856454"/>
                  <a:pt x="5449584" y="979741"/>
                  <a:pt x="5461353" y="1278221"/>
                </a:cubicBezTo>
                <a:cubicBezTo>
                  <a:pt x="5473122" y="1576702"/>
                  <a:pt x="5448249" y="1583784"/>
                  <a:pt x="5461353" y="1824257"/>
                </a:cubicBezTo>
                <a:cubicBezTo>
                  <a:pt x="5474457" y="2064730"/>
                  <a:pt x="5448636" y="2207670"/>
                  <a:pt x="5461353" y="2444752"/>
                </a:cubicBezTo>
                <a:cubicBezTo>
                  <a:pt x="5474070" y="2681834"/>
                  <a:pt x="5480859" y="2817650"/>
                  <a:pt x="5461353" y="2953559"/>
                </a:cubicBezTo>
                <a:cubicBezTo>
                  <a:pt x="5441847" y="3089468"/>
                  <a:pt x="5442716" y="3542606"/>
                  <a:pt x="5461353" y="3722973"/>
                </a:cubicBezTo>
                <a:lnTo>
                  <a:pt x="5461353" y="3722973"/>
                </a:lnTo>
                <a:cubicBezTo>
                  <a:pt x="5229711" y="3702221"/>
                  <a:pt x="5055871" y="3730323"/>
                  <a:pt x="4887911" y="3722973"/>
                </a:cubicBezTo>
                <a:cubicBezTo>
                  <a:pt x="4719951" y="3715623"/>
                  <a:pt x="4440828" y="3750147"/>
                  <a:pt x="4259855" y="3722973"/>
                </a:cubicBezTo>
                <a:cubicBezTo>
                  <a:pt x="4078882" y="3695799"/>
                  <a:pt x="3931066" y="3695601"/>
                  <a:pt x="3686413" y="3722973"/>
                </a:cubicBezTo>
                <a:cubicBezTo>
                  <a:pt x="3441760" y="3750345"/>
                  <a:pt x="3372027" y="3693201"/>
                  <a:pt x="3058358" y="3722973"/>
                </a:cubicBezTo>
                <a:cubicBezTo>
                  <a:pt x="2744689" y="3752745"/>
                  <a:pt x="2531520" y="3694643"/>
                  <a:pt x="2375689" y="3722973"/>
                </a:cubicBezTo>
                <a:cubicBezTo>
                  <a:pt x="2219858" y="3751303"/>
                  <a:pt x="1841665" y="3719827"/>
                  <a:pt x="1693019" y="3722973"/>
                </a:cubicBezTo>
                <a:cubicBezTo>
                  <a:pt x="1544373" y="3726120"/>
                  <a:pt x="1298560" y="3737789"/>
                  <a:pt x="1064964" y="3722973"/>
                </a:cubicBezTo>
                <a:cubicBezTo>
                  <a:pt x="831368" y="3708157"/>
                  <a:pt x="328842" y="3690052"/>
                  <a:pt x="0" y="3722973"/>
                </a:cubicBezTo>
                <a:lnTo>
                  <a:pt x="0" y="3722973"/>
                </a:lnTo>
                <a:cubicBezTo>
                  <a:pt x="30864" y="3574525"/>
                  <a:pt x="-10408" y="3307074"/>
                  <a:pt x="0" y="3065248"/>
                </a:cubicBezTo>
                <a:cubicBezTo>
                  <a:pt x="10408" y="2823422"/>
                  <a:pt x="855" y="2736270"/>
                  <a:pt x="0" y="2481982"/>
                </a:cubicBezTo>
                <a:cubicBezTo>
                  <a:pt x="-855" y="2227694"/>
                  <a:pt x="14033" y="2054582"/>
                  <a:pt x="0" y="1861487"/>
                </a:cubicBezTo>
                <a:cubicBezTo>
                  <a:pt x="-14033" y="1668392"/>
                  <a:pt x="4377" y="1492930"/>
                  <a:pt x="0" y="1352680"/>
                </a:cubicBezTo>
                <a:cubicBezTo>
                  <a:pt x="-4377" y="1212430"/>
                  <a:pt x="-6337" y="917576"/>
                  <a:pt x="0" y="732185"/>
                </a:cubicBezTo>
                <a:cubicBezTo>
                  <a:pt x="6337" y="546794"/>
                  <a:pt x="-27429" y="208357"/>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F7B6FF37-3939-DB9E-2D9B-BCFB9F9CA612}"/>
              </a:ext>
            </a:extLst>
          </p:cNvPr>
          <p:cNvSpPr/>
          <p:nvPr/>
        </p:nvSpPr>
        <p:spPr>
          <a:xfrm>
            <a:off x="6233455" y="2388915"/>
            <a:ext cx="5461359" cy="3950180"/>
          </a:xfrm>
          <a:custGeom>
            <a:avLst/>
            <a:gdLst>
              <a:gd name="connsiteX0" fmla="*/ 0 w 5461359"/>
              <a:gd name="connsiteY0" fmla="*/ 0 h 3950180"/>
              <a:gd name="connsiteX1" fmla="*/ 518829 w 5461359"/>
              <a:gd name="connsiteY1" fmla="*/ 0 h 3950180"/>
              <a:gd name="connsiteX2" fmla="*/ 1037658 w 5461359"/>
              <a:gd name="connsiteY2" fmla="*/ 0 h 3950180"/>
              <a:gd name="connsiteX3" fmla="*/ 1829555 w 5461359"/>
              <a:gd name="connsiteY3" fmla="*/ 0 h 3950180"/>
              <a:gd name="connsiteX4" fmla="*/ 2512225 w 5461359"/>
              <a:gd name="connsiteY4" fmla="*/ 0 h 3950180"/>
              <a:gd name="connsiteX5" fmla="*/ 3249509 w 5461359"/>
              <a:gd name="connsiteY5" fmla="*/ 0 h 3950180"/>
              <a:gd name="connsiteX6" fmla="*/ 3822951 w 5461359"/>
              <a:gd name="connsiteY6" fmla="*/ 0 h 3950180"/>
              <a:gd name="connsiteX7" fmla="*/ 4505621 w 5461359"/>
              <a:gd name="connsiteY7" fmla="*/ 0 h 3950180"/>
              <a:gd name="connsiteX8" fmla="*/ 5461359 w 5461359"/>
              <a:gd name="connsiteY8" fmla="*/ 0 h 3950180"/>
              <a:gd name="connsiteX9" fmla="*/ 5461359 w 5461359"/>
              <a:gd name="connsiteY9" fmla="*/ 737367 h 3950180"/>
              <a:gd name="connsiteX10" fmla="*/ 5461359 w 5461359"/>
              <a:gd name="connsiteY10" fmla="*/ 1356228 h 3950180"/>
              <a:gd name="connsiteX11" fmla="*/ 5461359 w 5461359"/>
              <a:gd name="connsiteY11" fmla="*/ 1896086 h 3950180"/>
              <a:gd name="connsiteX12" fmla="*/ 5461359 w 5461359"/>
              <a:gd name="connsiteY12" fmla="*/ 2435944 h 3950180"/>
              <a:gd name="connsiteX13" fmla="*/ 5461359 w 5461359"/>
              <a:gd name="connsiteY13" fmla="*/ 3094308 h 3950180"/>
              <a:gd name="connsiteX14" fmla="*/ 5461359 w 5461359"/>
              <a:gd name="connsiteY14" fmla="*/ 3950180 h 3950180"/>
              <a:gd name="connsiteX15" fmla="*/ 4887916 w 5461359"/>
              <a:gd name="connsiteY15" fmla="*/ 3950180 h 3950180"/>
              <a:gd name="connsiteX16" fmla="*/ 4314474 w 5461359"/>
              <a:gd name="connsiteY16" fmla="*/ 3950180 h 3950180"/>
              <a:gd name="connsiteX17" fmla="*/ 3522577 w 5461359"/>
              <a:gd name="connsiteY17" fmla="*/ 3950180 h 3950180"/>
              <a:gd name="connsiteX18" fmla="*/ 2730680 w 5461359"/>
              <a:gd name="connsiteY18" fmla="*/ 3950180 h 3950180"/>
              <a:gd name="connsiteX19" fmla="*/ 2102623 w 5461359"/>
              <a:gd name="connsiteY19" fmla="*/ 3950180 h 3950180"/>
              <a:gd name="connsiteX20" fmla="*/ 1529181 w 5461359"/>
              <a:gd name="connsiteY20" fmla="*/ 3950180 h 3950180"/>
              <a:gd name="connsiteX21" fmla="*/ 737283 w 5461359"/>
              <a:gd name="connsiteY21" fmla="*/ 3950180 h 3950180"/>
              <a:gd name="connsiteX22" fmla="*/ 0 w 5461359"/>
              <a:gd name="connsiteY22" fmla="*/ 3950180 h 3950180"/>
              <a:gd name="connsiteX23" fmla="*/ 0 w 5461359"/>
              <a:gd name="connsiteY23" fmla="*/ 3291817 h 3950180"/>
              <a:gd name="connsiteX24" fmla="*/ 0 w 5461359"/>
              <a:gd name="connsiteY24" fmla="*/ 2593952 h 3950180"/>
              <a:gd name="connsiteX25" fmla="*/ 0 w 5461359"/>
              <a:gd name="connsiteY25" fmla="*/ 1975090 h 3950180"/>
              <a:gd name="connsiteX26" fmla="*/ 0 w 5461359"/>
              <a:gd name="connsiteY26" fmla="*/ 1277225 h 3950180"/>
              <a:gd name="connsiteX27" fmla="*/ 0 w 5461359"/>
              <a:gd name="connsiteY27" fmla="*/ 658363 h 3950180"/>
              <a:gd name="connsiteX28" fmla="*/ 0 w 5461359"/>
              <a:gd name="connsiteY28" fmla="*/ 0 h 395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61359" h="3950180" fill="none" extrusionOk="0">
                <a:moveTo>
                  <a:pt x="0" y="0"/>
                </a:moveTo>
                <a:cubicBezTo>
                  <a:pt x="217922" y="22036"/>
                  <a:pt x="299785" y="7442"/>
                  <a:pt x="518829" y="0"/>
                </a:cubicBezTo>
                <a:cubicBezTo>
                  <a:pt x="737873" y="-7442"/>
                  <a:pt x="861508" y="8871"/>
                  <a:pt x="1037658" y="0"/>
                </a:cubicBezTo>
                <a:cubicBezTo>
                  <a:pt x="1213808" y="-8871"/>
                  <a:pt x="1446630" y="-19171"/>
                  <a:pt x="1829555" y="0"/>
                </a:cubicBezTo>
                <a:cubicBezTo>
                  <a:pt x="2212480" y="19171"/>
                  <a:pt x="2330484" y="17120"/>
                  <a:pt x="2512225" y="0"/>
                </a:cubicBezTo>
                <a:cubicBezTo>
                  <a:pt x="2693966" y="-17120"/>
                  <a:pt x="3081312" y="29340"/>
                  <a:pt x="3249509" y="0"/>
                </a:cubicBezTo>
                <a:cubicBezTo>
                  <a:pt x="3417706" y="-29340"/>
                  <a:pt x="3662488" y="-20095"/>
                  <a:pt x="3822951" y="0"/>
                </a:cubicBezTo>
                <a:cubicBezTo>
                  <a:pt x="3983414" y="20095"/>
                  <a:pt x="4169544" y="-4999"/>
                  <a:pt x="4505621" y="0"/>
                </a:cubicBezTo>
                <a:cubicBezTo>
                  <a:pt x="4841698" y="4999"/>
                  <a:pt x="5222438" y="-11487"/>
                  <a:pt x="5461359" y="0"/>
                </a:cubicBezTo>
                <a:cubicBezTo>
                  <a:pt x="5449681" y="181734"/>
                  <a:pt x="5442596" y="448745"/>
                  <a:pt x="5461359" y="737367"/>
                </a:cubicBezTo>
                <a:cubicBezTo>
                  <a:pt x="5480122" y="1025989"/>
                  <a:pt x="5472179" y="1047608"/>
                  <a:pt x="5461359" y="1356228"/>
                </a:cubicBezTo>
                <a:cubicBezTo>
                  <a:pt x="5450539" y="1664848"/>
                  <a:pt x="5470469" y="1648218"/>
                  <a:pt x="5461359" y="1896086"/>
                </a:cubicBezTo>
                <a:cubicBezTo>
                  <a:pt x="5452249" y="2143954"/>
                  <a:pt x="5485769" y="2319576"/>
                  <a:pt x="5461359" y="2435944"/>
                </a:cubicBezTo>
                <a:cubicBezTo>
                  <a:pt x="5436949" y="2552312"/>
                  <a:pt x="5487499" y="2845958"/>
                  <a:pt x="5461359" y="3094308"/>
                </a:cubicBezTo>
                <a:cubicBezTo>
                  <a:pt x="5435219" y="3342658"/>
                  <a:pt x="5436266" y="3553024"/>
                  <a:pt x="5461359" y="3950180"/>
                </a:cubicBezTo>
                <a:cubicBezTo>
                  <a:pt x="5292127" y="3956706"/>
                  <a:pt x="5161925" y="3932457"/>
                  <a:pt x="4887916" y="3950180"/>
                </a:cubicBezTo>
                <a:cubicBezTo>
                  <a:pt x="4613907" y="3967903"/>
                  <a:pt x="4494149" y="3973122"/>
                  <a:pt x="4314474" y="3950180"/>
                </a:cubicBezTo>
                <a:cubicBezTo>
                  <a:pt x="4134799" y="3927238"/>
                  <a:pt x="3705291" y="3936674"/>
                  <a:pt x="3522577" y="3950180"/>
                </a:cubicBezTo>
                <a:cubicBezTo>
                  <a:pt x="3339863" y="3963686"/>
                  <a:pt x="3086449" y="3915907"/>
                  <a:pt x="2730680" y="3950180"/>
                </a:cubicBezTo>
                <a:cubicBezTo>
                  <a:pt x="2374911" y="3984453"/>
                  <a:pt x="2375398" y="3953083"/>
                  <a:pt x="2102623" y="3950180"/>
                </a:cubicBezTo>
                <a:cubicBezTo>
                  <a:pt x="1829848" y="3947277"/>
                  <a:pt x="1722801" y="3935646"/>
                  <a:pt x="1529181" y="3950180"/>
                </a:cubicBezTo>
                <a:cubicBezTo>
                  <a:pt x="1335561" y="3964714"/>
                  <a:pt x="1066938" y="3972698"/>
                  <a:pt x="737283" y="3950180"/>
                </a:cubicBezTo>
                <a:cubicBezTo>
                  <a:pt x="407628" y="3927662"/>
                  <a:pt x="363816" y="3973372"/>
                  <a:pt x="0" y="3950180"/>
                </a:cubicBezTo>
                <a:cubicBezTo>
                  <a:pt x="-4903" y="3726687"/>
                  <a:pt x="-9431" y="3556545"/>
                  <a:pt x="0" y="3291817"/>
                </a:cubicBezTo>
                <a:cubicBezTo>
                  <a:pt x="9431" y="3027089"/>
                  <a:pt x="-9620" y="2801704"/>
                  <a:pt x="0" y="2593952"/>
                </a:cubicBezTo>
                <a:cubicBezTo>
                  <a:pt x="9620" y="2386200"/>
                  <a:pt x="-28891" y="2187939"/>
                  <a:pt x="0" y="1975090"/>
                </a:cubicBezTo>
                <a:cubicBezTo>
                  <a:pt x="28891" y="1762241"/>
                  <a:pt x="-25438" y="1504637"/>
                  <a:pt x="0" y="1277225"/>
                </a:cubicBezTo>
                <a:cubicBezTo>
                  <a:pt x="25438" y="1049813"/>
                  <a:pt x="25111" y="866964"/>
                  <a:pt x="0" y="658363"/>
                </a:cubicBezTo>
                <a:cubicBezTo>
                  <a:pt x="-25111" y="449762"/>
                  <a:pt x="-25279" y="226152"/>
                  <a:pt x="0" y="0"/>
                </a:cubicBezTo>
                <a:close/>
              </a:path>
              <a:path w="5461359" h="3950180"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74574" y="231433"/>
                  <a:pt x="5437724" y="488471"/>
                  <a:pt x="5461359" y="618862"/>
                </a:cubicBezTo>
                <a:cubicBezTo>
                  <a:pt x="5484994" y="749253"/>
                  <a:pt x="5462653" y="1030437"/>
                  <a:pt x="5461359" y="1158719"/>
                </a:cubicBezTo>
                <a:cubicBezTo>
                  <a:pt x="5460065" y="1287001"/>
                  <a:pt x="5466731" y="1507695"/>
                  <a:pt x="5461359" y="1777581"/>
                </a:cubicBezTo>
                <a:cubicBezTo>
                  <a:pt x="5455987" y="2047467"/>
                  <a:pt x="5474421" y="2197354"/>
                  <a:pt x="5461359" y="2396443"/>
                </a:cubicBezTo>
                <a:cubicBezTo>
                  <a:pt x="5448297" y="2595532"/>
                  <a:pt x="5440448" y="2861103"/>
                  <a:pt x="5461359" y="3094308"/>
                </a:cubicBezTo>
                <a:cubicBezTo>
                  <a:pt x="5482270" y="3327513"/>
                  <a:pt x="5475836" y="3725149"/>
                  <a:pt x="5461359" y="3950180"/>
                </a:cubicBezTo>
                <a:cubicBezTo>
                  <a:pt x="5311886" y="3947028"/>
                  <a:pt x="5143050" y="3940780"/>
                  <a:pt x="4833303" y="3950180"/>
                </a:cubicBezTo>
                <a:cubicBezTo>
                  <a:pt x="4523556" y="3959580"/>
                  <a:pt x="4417068" y="3919138"/>
                  <a:pt x="4205246" y="3950180"/>
                </a:cubicBezTo>
                <a:cubicBezTo>
                  <a:pt x="3993424" y="3981222"/>
                  <a:pt x="3880589" y="3934443"/>
                  <a:pt x="3686417" y="3950180"/>
                </a:cubicBezTo>
                <a:cubicBezTo>
                  <a:pt x="3492245" y="3965917"/>
                  <a:pt x="3175419" y="3939582"/>
                  <a:pt x="2949134" y="3950180"/>
                </a:cubicBezTo>
                <a:cubicBezTo>
                  <a:pt x="2722849" y="3960778"/>
                  <a:pt x="2590123" y="3930714"/>
                  <a:pt x="2430305" y="3950180"/>
                </a:cubicBezTo>
                <a:cubicBezTo>
                  <a:pt x="2270487" y="3969646"/>
                  <a:pt x="2117864" y="3971493"/>
                  <a:pt x="1911476" y="3950180"/>
                </a:cubicBezTo>
                <a:cubicBezTo>
                  <a:pt x="1705088" y="3928867"/>
                  <a:pt x="1458050" y="3976060"/>
                  <a:pt x="1338033" y="3950180"/>
                </a:cubicBezTo>
                <a:cubicBezTo>
                  <a:pt x="1218016" y="3924300"/>
                  <a:pt x="809455" y="3980207"/>
                  <a:pt x="600749" y="3950180"/>
                </a:cubicBezTo>
                <a:cubicBezTo>
                  <a:pt x="392043" y="3920153"/>
                  <a:pt x="192494" y="3976060"/>
                  <a:pt x="0" y="3950180"/>
                </a:cubicBezTo>
                <a:cubicBezTo>
                  <a:pt x="21390" y="3780605"/>
                  <a:pt x="-593" y="3646183"/>
                  <a:pt x="0" y="3370820"/>
                </a:cubicBezTo>
                <a:cubicBezTo>
                  <a:pt x="593" y="3095457"/>
                  <a:pt x="13984" y="2975917"/>
                  <a:pt x="0" y="2712457"/>
                </a:cubicBezTo>
                <a:cubicBezTo>
                  <a:pt x="-13984" y="2448997"/>
                  <a:pt x="-3759" y="2349491"/>
                  <a:pt x="0" y="2133097"/>
                </a:cubicBezTo>
                <a:cubicBezTo>
                  <a:pt x="3759" y="1916703"/>
                  <a:pt x="1846" y="1591482"/>
                  <a:pt x="0" y="1435232"/>
                </a:cubicBezTo>
                <a:cubicBezTo>
                  <a:pt x="-1846" y="1278983"/>
                  <a:pt x="19778" y="1005943"/>
                  <a:pt x="0" y="855872"/>
                </a:cubicBezTo>
                <a:cubicBezTo>
                  <a:pt x="-19778" y="705801"/>
                  <a:pt x="32710" y="286593"/>
                  <a:pt x="0" y="0"/>
                </a:cubicBezTo>
                <a:close/>
              </a:path>
            </a:pathLst>
          </a:custGeom>
          <a:solidFill>
            <a:srgbClr val="97A2BD"/>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Rectangle: Rounded Corners 3">
            <a:extLst>
              <a:ext uri="{FF2B5EF4-FFF2-40B4-BE49-F238E27FC236}">
                <a16:creationId xmlns:a16="http://schemas.microsoft.com/office/drawing/2014/main" id="{5FD6AAB4-00A8-FE58-B221-245EA7331BEE}"/>
              </a:ext>
            </a:extLst>
          </p:cNvPr>
          <p:cNvSpPr/>
          <p:nvPr/>
        </p:nvSpPr>
        <p:spPr>
          <a:xfrm>
            <a:off x="6514471" y="2810496"/>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dashboard]</a:t>
            </a:r>
          </a:p>
        </p:txBody>
      </p:sp>
      <p:sp>
        <p:nvSpPr>
          <p:cNvPr id="26" name="Rectangle: Rounded Corners 25">
            <a:extLst>
              <a:ext uri="{FF2B5EF4-FFF2-40B4-BE49-F238E27FC236}">
                <a16:creationId xmlns:a16="http://schemas.microsoft.com/office/drawing/2014/main" id="{E50CDF3E-F818-F26D-2FD2-67FA4C6CE849}"/>
              </a:ext>
            </a:extLst>
          </p:cNvPr>
          <p:cNvSpPr/>
          <p:nvPr/>
        </p:nvSpPr>
        <p:spPr>
          <a:xfrm>
            <a:off x="497187" y="2389207"/>
            <a:ext cx="5461353" cy="3944985"/>
          </a:xfrm>
          <a:custGeom>
            <a:avLst/>
            <a:gdLst>
              <a:gd name="connsiteX0" fmla="*/ 0 w 5461353"/>
              <a:gd name="connsiteY0" fmla="*/ 0 h 3944985"/>
              <a:gd name="connsiteX1" fmla="*/ 0 w 5461353"/>
              <a:gd name="connsiteY1" fmla="*/ 0 h 3944985"/>
              <a:gd name="connsiteX2" fmla="*/ 791896 w 5461353"/>
              <a:gd name="connsiteY2" fmla="*/ 0 h 3944985"/>
              <a:gd name="connsiteX3" fmla="*/ 1419952 w 5461353"/>
              <a:gd name="connsiteY3" fmla="*/ 0 h 3944985"/>
              <a:gd name="connsiteX4" fmla="*/ 1993394 w 5461353"/>
              <a:gd name="connsiteY4" fmla="*/ 0 h 3944985"/>
              <a:gd name="connsiteX5" fmla="*/ 2512222 w 5461353"/>
              <a:gd name="connsiteY5" fmla="*/ 0 h 3944985"/>
              <a:gd name="connsiteX6" fmla="*/ 3194892 w 5461353"/>
              <a:gd name="connsiteY6" fmla="*/ 0 h 3944985"/>
              <a:gd name="connsiteX7" fmla="*/ 3768334 w 5461353"/>
              <a:gd name="connsiteY7" fmla="*/ 0 h 3944985"/>
              <a:gd name="connsiteX8" fmla="*/ 4505616 w 5461353"/>
              <a:gd name="connsiteY8" fmla="*/ 0 h 3944985"/>
              <a:gd name="connsiteX9" fmla="*/ 5461353 w 5461353"/>
              <a:gd name="connsiteY9" fmla="*/ 0 h 3944985"/>
              <a:gd name="connsiteX10" fmla="*/ 5461353 w 5461353"/>
              <a:gd name="connsiteY10" fmla="*/ 0 h 3944985"/>
              <a:gd name="connsiteX11" fmla="*/ 5461353 w 5461353"/>
              <a:gd name="connsiteY11" fmla="*/ 539148 h 3944985"/>
              <a:gd name="connsiteX12" fmla="*/ 5461353 w 5461353"/>
              <a:gd name="connsiteY12" fmla="*/ 1196645 h 3944985"/>
              <a:gd name="connsiteX13" fmla="*/ 5461353 w 5461353"/>
              <a:gd name="connsiteY13" fmla="*/ 1775243 h 3944985"/>
              <a:gd name="connsiteX14" fmla="*/ 5461353 w 5461353"/>
              <a:gd name="connsiteY14" fmla="*/ 2432741 h 3944985"/>
              <a:gd name="connsiteX15" fmla="*/ 5461353 w 5461353"/>
              <a:gd name="connsiteY15" fmla="*/ 2971889 h 3944985"/>
              <a:gd name="connsiteX16" fmla="*/ 5461353 w 5461353"/>
              <a:gd name="connsiteY16" fmla="*/ 3944985 h 3944985"/>
              <a:gd name="connsiteX17" fmla="*/ 5461353 w 5461353"/>
              <a:gd name="connsiteY17" fmla="*/ 3944985 h 3944985"/>
              <a:gd name="connsiteX18" fmla="*/ 4887911 w 5461353"/>
              <a:gd name="connsiteY18" fmla="*/ 3944985 h 3944985"/>
              <a:gd name="connsiteX19" fmla="*/ 4205242 w 5461353"/>
              <a:gd name="connsiteY19" fmla="*/ 3944985 h 3944985"/>
              <a:gd name="connsiteX20" fmla="*/ 3577186 w 5461353"/>
              <a:gd name="connsiteY20" fmla="*/ 3944985 h 3944985"/>
              <a:gd name="connsiteX21" fmla="*/ 3058358 w 5461353"/>
              <a:gd name="connsiteY21" fmla="*/ 3944985 h 3944985"/>
              <a:gd name="connsiteX22" fmla="*/ 2430302 w 5461353"/>
              <a:gd name="connsiteY22" fmla="*/ 3944985 h 3944985"/>
              <a:gd name="connsiteX23" fmla="*/ 1693019 w 5461353"/>
              <a:gd name="connsiteY23" fmla="*/ 3944985 h 3944985"/>
              <a:gd name="connsiteX24" fmla="*/ 1010350 w 5461353"/>
              <a:gd name="connsiteY24" fmla="*/ 3944985 h 3944985"/>
              <a:gd name="connsiteX25" fmla="*/ 0 w 5461353"/>
              <a:gd name="connsiteY25" fmla="*/ 3944985 h 3944985"/>
              <a:gd name="connsiteX26" fmla="*/ 0 w 5461353"/>
              <a:gd name="connsiteY26" fmla="*/ 3944985 h 3944985"/>
              <a:gd name="connsiteX27" fmla="*/ 0 w 5461353"/>
              <a:gd name="connsiteY27" fmla="*/ 3405837 h 3944985"/>
              <a:gd name="connsiteX28" fmla="*/ 0 w 5461353"/>
              <a:gd name="connsiteY28" fmla="*/ 2827239 h 3944985"/>
              <a:gd name="connsiteX29" fmla="*/ 0 w 5461353"/>
              <a:gd name="connsiteY29" fmla="*/ 2130292 h 3944985"/>
              <a:gd name="connsiteX30" fmla="*/ 0 w 5461353"/>
              <a:gd name="connsiteY30" fmla="*/ 1591144 h 3944985"/>
              <a:gd name="connsiteX31" fmla="*/ 0 w 5461353"/>
              <a:gd name="connsiteY31" fmla="*/ 973096 h 3944985"/>
              <a:gd name="connsiteX32" fmla="*/ 0 w 5461353"/>
              <a:gd name="connsiteY32" fmla="*/ 0 h 394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3" h="3944985"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64818" y="254157"/>
                  <a:pt x="5440869" y="388933"/>
                  <a:pt x="5461353" y="539148"/>
                </a:cubicBezTo>
                <a:cubicBezTo>
                  <a:pt x="5481837" y="689363"/>
                  <a:pt x="5454845" y="871169"/>
                  <a:pt x="5461353" y="1196645"/>
                </a:cubicBezTo>
                <a:cubicBezTo>
                  <a:pt x="5467861" y="1522121"/>
                  <a:pt x="5488935" y="1589400"/>
                  <a:pt x="5461353" y="1775243"/>
                </a:cubicBezTo>
                <a:cubicBezTo>
                  <a:pt x="5433771" y="1961086"/>
                  <a:pt x="5479598" y="2269809"/>
                  <a:pt x="5461353" y="2432741"/>
                </a:cubicBezTo>
                <a:cubicBezTo>
                  <a:pt x="5443108" y="2595673"/>
                  <a:pt x="5445231" y="2824846"/>
                  <a:pt x="5461353" y="2971889"/>
                </a:cubicBezTo>
                <a:cubicBezTo>
                  <a:pt x="5477475" y="3118932"/>
                  <a:pt x="5470998" y="3471880"/>
                  <a:pt x="5461353" y="3944985"/>
                </a:cubicBezTo>
                <a:lnTo>
                  <a:pt x="5461353" y="3944985"/>
                </a:lnTo>
                <a:cubicBezTo>
                  <a:pt x="5238880" y="3936398"/>
                  <a:pt x="5041401" y="3916546"/>
                  <a:pt x="4887911" y="3944985"/>
                </a:cubicBezTo>
                <a:cubicBezTo>
                  <a:pt x="4734421" y="3973424"/>
                  <a:pt x="4500958" y="3974561"/>
                  <a:pt x="4205242" y="3944985"/>
                </a:cubicBezTo>
                <a:cubicBezTo>
                  <a:pt x="3909526" y="3915409"/>
                  <a:pt x="3729356" y="3931344"/>
                  <a:pt x="3577186" y="3944985"/>
                </a:cubicBezTo>
                <a:cubicBezTo>
                  <a:pt x="3425016" y="3958626"/>
                  <a:pt x="3205077" y="3941966"/>
                  <a:pt x="3058358" y="3944985"/>
                </a:cubicBezTo>
                <a:cubicBezTo>
                  <a:pt x="2911639" y="3948004"/>
                  <a:pt x="2676384" y="3971697"/>
                  <a:pt x="2430302" y="3944985"/>
                </a:cubicBezTo>
                <a:cubicBezTo>
                  <a:pt x="2184220" y="3918273"/>
                  <a:pt x="1945052" y="3961909"/>
                  <a:pt x="1693019" y="3944985"/>
                </a:cubicBezTo>
                <a:cubicBezTo>
                  <a:pt x="1440986" y="3928061"/>
                  <a:pt x="1150111" y="3968839"/>
                  <a:pt x="1010350" y="3944985"/>
                </a:cubicBezTo>
                <a:cubicBezTo>
                  <a:pt x="870589" y="3921131"/>
                  <a:pt x="409237" y="3946234"/>
                  <a:pt x="0" y="3944985"/>
                </a:cubicBezTo>
                <a:lnTo>
                  <a:pt x="0" y="3944985"/>
                </a:lnTo>
                <a:cubicBezTo>
                  <a:pt x="19676" y="3768216"/>
                  <a:pt x="7290" y="3590379"/>
                  <a:pt x="0" y="3405837"/>
                </a:cubicBezTo>
                <a:cubicBezTo>
                  <a:pt x="-7290" y="3221295"/>
                  <a:pt x="-17645" y="2953555"/>
                  <a:pt x="0" y="2827239"/>
                </a:cubicBezTo>
                <a:cubicBezTo>
                  <a:pt x="17645" y="2700923"/>
                  <a:pt x="29006" y="2478302"/>
                  <a:pt x="0" y="2130292"/>
                </a:cubicBezTo>
                <a:cubicBezTo>
                  <a:pt x="-29006" y="1782282"/>
                  <a:pt x="18652" y="1804208"/>
                  <a:pt x="0" y="1591144"/>
                </a:cubicBezTo>
                <a:cubicBezTo>
                  <a:pt x="-18652" y="1378080"/>
                  <a:pt x="25197" y="1188881"/>
                  <a:pt x="0" y="973096"/>
                </a:cubicBezTo>
                <a:cubicBezTo>
                  <a:pt x="-25197" y="757311"/>
                  <a:pt x="-8835" y="287612"/>
                  <a:pt x="0" y="0"/>
                </a:cubicBezTo>
                <a:close/>
              </a:path>
              <a:path w="5461353" h="3944985"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6272" y="213586"/>
                  <a:pt x="5453370" y="396144"/>
                  <a:pt x="5461353" y="618048"/>
                </a:cubicBezTo>
                <a:cubicBezTo>
                  <a:pt x="5469336" y="839952"/>
                  <a:pt x="5434827" y="1188850"/>
                  <a:pt x="5461353" y="1354445"/>
                </a:cubicBezTo>
                <a:cubicBezTo>
                  <a:pt x="5487879" y="1520040"/>
                  <a:pt x="5450250" y="1752831"/>
                  <a:pt x="5461353" y="1933043"/>
                </a:cubicBezTo>
                <a:cubicBezTo>
                  <a:pt x="5472456" y="2113255"/>
                  <a:pt x="5487780" y="2286182"/>
                  <a:pt x="5461353" y="2590540"/>
                </a:cubicBezTo>
                <a:cubicBezTo>
                  <a:pt x="5434926" y="2894898"/>
                  <a:pt x="5446915" y="3001290"/>
                  <a:pt x="5461353" y="3129688"/>
                </a:cubicBezTo>
                <a:cubicBezTo>
                  <a:pt x="5475791" y="3258086"/>
                  <a:pt x="5490169" y="3649781"/>
                  <a:pt x="5461353" y="3944985"/>
                </a:cubicBezTo>
                <a:lnTo>
                  <a:pt x="5461353" y="3944985"/>
                </a:lnTo>
                <a:cubicBezTo>
                  <a:pt x="5229711" y="3924233"/>
                  <a:pt x="5055871" y="3952335"/>
                  <a:pt x="4887911" y="3944985"/>
                </a:cubicBezTo>
                <a:cubicBezTo>
                  <a:pt x="4719951" y="3937635"/>
                  <a:pt x="4440828" y="3972159"/>
                  <a:pt x="4259855" y="3944985"/>
                </a:cubicBezTo>
                <a:cubicBezTo>
                  <a:pt x="4078882" y="3917811"/>
                  <a:pt x="3931066" y="3917613"/>
                  <a:pt x="3686413" y="3944985"/>
                </a:cubicBezTo>
                <a:cubicBezTo>
                  <a:pt x="3441760" y="3972357"/>
                  <a:pt x="3372027" y="3915213"/>
                  <a:pt x="3058358" y="3944985"/>
                </a:cubicBezTo>
                <a:cubicBezTo>
                  <a:pt x="2744689" y="3974757"/>
                  <a:pt x="2531520" y="3916655"/>
                  <a:pt x="2375689" y="3944985"/>
                </a:cubicBezTo>
                <a:cubicBezTo>
                  <a:pt x="2219858" y="3973315"/>
                  <a:pt x="1841665" y="3941839"/>
                  <a:pt x="1693019" y="3944985"/>
                </a:cubicBezTo>
                <a:cubicBezTo>
                  <a:pt x="1544373" y="3948132"/>
                  <a:pt x="1298560" y="3959801"/>
                  <a:pt x="1064964" y="3944985"/>
                </a:cubicBezTo>
                <a:cubicBezTo>
                  <a:pt x="831368" y="3930169"/>
                  <a:pt x="328842" y="3912064"/>
                  <a:pt x="0" y="3944985"/>
                </a:cubicBezTo>
                <a:lnTo>
                  <a:pt x="0" y="3944985"/>
                </a:lnTo>
                <a:cubicBezTo>
                  <a:pt x="26307" y="3654549"/>
                  <a:pt x="-25065" y="3505459"/>
                  <a:pt x="0" y="3248038"/>
                </a:cubicBezTo>
                <a:cubicBezTo>
                  <a:pt x="25065" y="2990617"/>
                  <a:pt x="686" y="2901159"/>
                  <a:pt x="0" y="2629990"/>
                </a:cubicBezTo>
                <a:cubicBezTo>
                  <a:pt x="-686" y="2358821"/>
                  <a:pt x="-20550" y="2145901"/>
                  <a:pt x="0" y="1972493"/>
                </a:cubicBezTo>
                <a:cubicBezTo>
                  <a:pt x="20550" y="1799085"/>
                  <a:pt x="19243" y="1549658"/>
                  <a:pt x="0" y="1433345"/>
                </a:cubicBezTo>
                <a:cubicBezTo>
                  <a:pt x="-19243" y="1317032"/>
                  <a:pt x="27756" y="1023727"/>
                  <a:pt x="0" y="775847"/>
                </a:cubicBezTo>
                <a:cubicBezTo>
                  <a:pt x="-27756" y="527967"/>
                  <a:pt x="7839" y="183756"/>
                  <a:pt x="0" y="0"/>
                </a:cubicBezTo>
                <a:close/>
              </a:path>
            </a:pathLst>
          </a:custGeom>
          <a:solidFill>
            <a:srgbClr val="97A2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EA0510D5-E891-0222-7179-ED6BBC1507C3}"/>
              </a:ext>
            </a:extLst>
          </p:cNvPr>
          <p:cNvSpPr/>
          <p:nvPr/>
        </p:nvSpPr>
        <p:spPr>
          <a:xfrm>
            <a:off x="497184" y="2458819"/>
            <a:ext cx="5461359" cy="3880276"/>
          </a:xfrm>
          <a:custGeom>
            <a:avLst/>
            <a:gdLst>
              <a:gd name="connsiteX0" fmla="*/ 0 w 5461359"/>
              <a:gd name="connsiteY0" fmla="*/ 0 h 3880276"/>
              <a:gd name="connsiteX1" fmla="*/ 737283 w 5461359"/>
              <a:gd name="connsiteY1" fmla="*/ 0 h 3880276"/>
              <a:gd name="connsiteX2" fmla="*/ 1310726 w 5461359"/>
              <a:gd name="connsiteY2" fmla="*/ 0 h 3880276"/>
              <a:gd name="connsiteX3" fmla="*/ 2048010 w 5461359"/>
              <a:gd name="connsiteY3" fmla="*/ 0 h 3880276"/>
              <a:gd name="connsiteX4" fmla="*/ 2566839 w 5461359"/>
              <a:gd name="connsiteY4" fmla="*/ 0 h 3880276"/>
              <a:gd name="connsiteX5" fmla="*/ 3140281 w 5461359"/>
              <a:gd name="connsiteY5" fmla="*/ 0 h 3880276"/>
              <a:gd name="connsiteX6" fmla="*/ 3822951 w 5461359"/>
              <a:gd name="connsiteY6" fmla="*/ 0 h 3880276"/>
              <a:gd name="connsiteX7" fmla="*/ 4560235 w 5461359"/>
              <a:gd name="connsiteY7" fmla="*/ 0 h 3880276"/>
              <a:gd name="connsiteX8" fmla="*/ 5461359 w 5461359"/>
              <a:gd name="connsiteY8" fmla="*/ 0 h 3880276"/>
              <a:gd name="connsiteX9" fmla="*/ 5461359 w 5461359"/>
              <a:gd name="connsiteY9" fmla="*/ 607910 h 3880276"/>
              <a:gd name="connsiteX10" fmla="*/ 5461359 w 5461359"/>
              <a:gd name="connsiteY10" fmla="*/ 1138214 h 3880276"/>
              <a:gd name="connsiteX11" fmla="*/ 5461359 w 5461359"/>
              <a:gd name="connsiteY11" fmla="*/ 1746124 h 3880276"/>
              <a:gd name="connsiteX12" fmla="*/ 5461359 w 5461359"/>
              <a:gd name="connsiteY12" fmla="*/ 2354034 h 3880276"/>
              <a:gd name="connsiteX13" fmla="*/ 5461359 w 5461359"/>
              <a:gd name="connsiteY13" fmla="*/ 3039550 h 3880276"/>
              <a:gd name="connsiteX14" fmla="*/ 5461359 w 5461359"/>
              <a:gd name="connsiteY14" fmla="*/ 3880276 h 3880276"/>
              <a:gd name="connsiteX15" fmla="*/ 4833303 w 5461359"/>
              <a:gd name="connsiteY15" fmla="*/ 3880276 h 3880276"/>
              <a:gd name="connsiteX16" fmla="*/ 4205246 w 5461359"/>
              <a:gd name="connsiteY16" fmla="*/ 3880276 h 3880276"/>
              <a:gd name="connsiteX17" fmla="*/ 3686417 w 5461359"/>
              <a:gd name="connsiteY17" fmla="*/ 3880276 h 3880276"/>
              <a:gd name="connsiteX18" fmla="*/ 2949134 w 5461359"/>
              <a:gd name="connsiteY18" fmla="*/ 3880276 h 3880276"/>
              <a:gd name="connsiteX19" fmla="*/ 2430305 w 5461359"/>
              <a:gd name="connsiteY19" fmla="*/ 3880276 h 3880276"/>
              <a:gd name="connsiteX20" fmla="*/ 1911476 w 5461359"/>
              <a:gd name="connsiteY20" fmla="*/ 3880276 h 3880276"/>
              <a:gd name="connsiteX21" fmla="*/ 1338033 w 5461359"/>
              <a:gd name="connsiteY21" fmla="*/ 3880276 h 3880276"/>
              <a:gd name="connsiteX22" fmla="*/ 600749 w 5461359"/>
              <a:gd name="connsiteY22" fmla="*/ 3880276 h 3880276"/>
              <a:gd name="connsiteX23" fmla="*/ 0 w 5461359"/>
              <a:gd name="connsiteY23" fmla="*/ 3880276 h 3880276"/>
              <a:gd name="connsiteX24" fmla="*/ 0 w 5461359"/>
              <a:gd name="connsiteY24" fmla="*/ 3311169 h 3880276"/>
              <a:gd name="connsiteX25" fmla="*/ 0 w 5461359"/>
              <a:gd name="connsiteY25" fmla="*/ 2664456 h 3880276"/>
              <a:gd name="connsiteX26" fmla="*/ 0 w 5461359"/>
              <a:gd name="connsiteY26" fmla="*/ 2095349 h 3880276"/>
              <a:gd name="connsiteX27" fmla="*/ 0 w 5461359"/>
              <a:gd name="connsiteY27" fmla="*/ 1409834 h 3880276"/>
              <a:gd name="connsiteX28" fmla="*/ 0 w 5461359"/>
              <a:gd name="connsiteY28" fmla="*/ 840726 h 3880276"/>
              <a:gd name="connsiteX29" fmla="*/ 0 w 5461359"/>
              <a:gd name="connsiteY29" fmla="*/ 0 h 388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dirty="0">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dirty="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Rounded Corners 3">
            <a:extLst>
              <a:ext uri="{FF2B5EF4-FFF2-40B4-BE49-F238E27FC236}">
                <a16:creationId xmlns:a16="http://schemas.microsoft.com/office/drawing/2014/main" id="{EAAC1CC1-58B9-9436-4E98-445F31F04333}"/>
              </a:ext>
            </a:extLst>
          </p:cNvPr>
          <p:cNvSpPr/>
          <p:nvPr/>
        </p:nvSpPr>
        <p:spPr>
          <a:xfrm>
            <a:off x="778200" y="2810496"/>
            <a:ext cx="4899332" cy="243717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dirty="0">
                <a:solidFill>
                  <a:srgbClr val="005850"/>
                </a:solidFill>
                <a:latin typeface="Verdana" panose="020B0604030504040204" pitchFamily="34" charset="0"/>
                <a:ea typeface="Verdana" panose="020B0604030504040204" pitchFamily="34" charset="0"/>
              </a:rPr>
              <a:t>[Screenshot af graf eller </a:t>
            </a:r>
            <a:r>
              <a:rPr lang="da-DK" sz="1200" dirty="0" err="1">
                <a:solidFill>
                  <a:srgbClr val="005850"/>
                </a:solidFill>
                <a:latin typeface="Verdana" panose="020B0604030504040204" pitchFamily="34" charset="0"/>
                <a:ea typeface="Verdana" panose="020B0604030504040204" pitchFamily="34" charset="0"/>
              </a:rPr>
              <a:t>dashboard</a:t>
            </a:r>
            <a:r>
              <a:rPr lang="da-DK" sz="1200" dirty="0">
                <a:solidFill>
                  <a:srgbClr val="005850"/>
                </a:solidFill>
                <a:latin typeface="Verdana" panose="020B0604030504040204" pitchFamily="34" charset="0"/>
                <a:ea typeface="Verdana" panose="020B0604030504040204" pitchFamily="34" charset="0"/>
              </a:rPr>
              <a:t>]</a:t>
            </a:r>
          </a:p>
        </p:txBody>
      </p:sp>
      <p:pic>
        <p:nvPicPr>
          <p:cNvPr id="3" name="Picture 2" descr="A blue and white logo&#10;&#10;AI-generated content may be incorrect.">
            <a:extLst>
              <a:ext uri="{FF2B5EF4-FFF2-40B4-BE49-F238E27FC236}">
                <a16:creationId xmlns:a16="http://schemas.microsoft.com/office/drawing/2014/main" id="{38C1691F-0C4E-126E-E735-5181A6CBEB92}"/>
              </a:ext>
            </a:extLst>
          </p:cNvPr>
          <p:cNvPicPr>
            <a:picLocks noChangeAspect="1"/>
          </p:cNvPicPr>
          <p:nvPr/>
        </p:nvPicPr>
        <p:blipFill>
          <a:blip r:embed="rId5">
            <a:alphaModFix/>
          </a:blip>
          <a:stretch>
            <a:fillRect/>
          </a:stretch>
        </p:blipFill>
        <p:spPr>
          <a:xfrm>
            <a:off x="11027227" y="89320"/>
            <a:ext cx="667587" cy="696082"/>
          </a:xfrm>
          <a:prstGeom prst="rect">
            <a:avLst/>
          </a:prstGeom>
        </p:spPr>
      </p:pic>
      <p:sp>
        <p:nvSpPr>
          <p:cNvPr id="2" name="Rectangle 1">
            <a:extLst>
              <a:ext uri="{FF2B5EF4-FFF2-40B4-BE49-F238E27FC236}">
                <a16:creationId xmlns:a16="http://schemas.microsoft.com/office/drawing/2014/main" id="{B8EDBE76-2C0E-12AE-4AA0-83B686B32119}"/>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 standarden, kan I blandt andet læse om hver indikator, hvor I finder info om værdien og relevansen for den pågældende indikator. Indsæt en indikator samt beskrivende tekst om, hvad data viser, hvad årsagen til udviklingen er, hvad jeres forventninger er til fremtidig udvikling, hvilke konkrete handlinger der er taget/tages på baggrund af indsigten i data mm.</a:t>
            </a:r>
          </a:p>
        </p:txBody>
      </p:sp>
      <p:sp>
        <p:nvSpPr>
          <p:cNvPr id="11" name="Rectangle 10">
            <a:extLst>
              <a:ext uri="{FF2B5EF4-FFF2-40B4-BE49-F238E27FC236}">
                <a16:creationId xmlns:a16="http://schemas.microsoft.com/office/drawing/2014/main" id="{EAA897F0-366A-D780-0AE6-C79ABA3EDF36}"/>
              </a:ext>
            </a:extLst>
          </p:cNvPr>
          <p:cNvSpPr/>
          <p:nvPr/>
        </p:nvSpPr>
        <p:spPr>
          <a:xfrm>
            <a:off x="6233454" y="2458819"/>
            <a:ext cx="5461359" cy="3880276"/>
          </a:xfrm>
          <a:custGeom>
            <a:avLst/>
            <a:gdLst>
              <a:gd name="connsiteX0" fmla="*/ 0 w 5461359"/>
              <a:gd name="connsiteY0" fmla="*/ 0 h 3880276"/>
              <a:gd name="connsiteX1" fmla="*/ 737283 w 5461359"/>
              <a:gd name="connsiteY1" fmla="*/ 0 h 3880276"/>
              <a:gd name="connsiteX2" fmla="*/ 1310726 w 5461359"/>
              <a:gd name="connsiteY2" fmla="*/ 0 h 3880276"/>
              <a:gd name="connsiteX3" fmla="*/ 2048010 w 5461359"/>
              <a:gd name="connsiteY3" fmla="*/ 0 h 3880276"/>
              <a:gd name="connsiteX4" fmla="*/ 2566839 w 5461359"/>
              <a:gd name="connsiteY4" fmla="*/ 0 h 3880276"/>
              <a:gd name="connsiteX5" fmla="*/ 3140281 w 5461359"/>
              <a:gd name="connsiteY5" fmla="*/ 0 h 3880276"/>
              <a:gd name="connsiteX6" fmla="*/ 3822951 w 5461359"/>
              <a:gd name="connsiteY6" fmla="*/ 0 h 3880276"/>
              <a:gd name="connsiteX7" fmla="*/ 4560235 w 5461359"/>
              <a:gd name="connsiteY7" fmla="*/ 0 h 3880276"/>
              <a:gd name="connsiteX8" fmla="*/ 5461359 w 5461359"/>
              <a:gd name="connsiteY8" fmla="*/ 0 h 3880276"/>
              <a:gd name="connsiteX9" fmla="*/ 5461359 w 5461359"/>
              <a:gd name="connsiteY9" fmla="*/ 607910 h 3880276"/>
              <a:gd name="connsiteX10" fmla="*/ 5461359 w 5461359"/>
              <a:gd name="connsiteY10" fmla="*/ 1138214 h 3880276"/>
              <a:gd name="connsiteX11" fmla="*/ 5461359 w 5461359"/>
              <a:gd name="connsiteY11" fmla="*/ 1746124 h 3880276"/>
              <a:gd name="connsiteX12" fmla="*/ 5461359 w 5461359"/>
              <a:gd name="connsiteY12" fmla="*/ 2354034 h 3880276"/>
              <a:gd name="connsiteX13" fmla="*/ 5461359 w 5461359"/>
              <a:gd name="connsiteY13" fmla="*/ 3039550 h 3880276"/>
              <a:gd name="connsiteX14" fmla="*/ 5461359 w 5461359"/>
              <a:gd name="connsiteY14" fmla="*/ 3880276 h 3880276"/>
              <a:gd name="connsiteX15" fmla="*/ 4833303 w 5461359"/>
              <a:gd name="connsiteY15" fmla="*/ 3880276 h 3880276"/>
              <a:gd name="connsiteX16" fmla="*/ 4205246 w 5461359"/>
              <a:gd name="connsiteY16" fmla="*/ 3880276 h 3880276"/>
              <a:gd name="connsiteX17" fmla="*/ 3686417 w 5461359"/>
              <a:gd name="connsiteY17" fmla="*/ 3880276 h 3880276"/>
              <a:gd name="connsiteX18" fmla="*/ 2949134 w 5461359"/>
              <a:gd name="connsiteY18" fmla="*/ 3880276 h 3880276"/>
              <a:gd name="connsiteX19" fmla="*/ 2430305 w 5461359"/>
              <a:gd name="connsiteY19" fmla="*/ 3880276 h 3880276"/>
              <a:gd name="connsiteX20" fmla="*/ 1911476 w 5461359"/>
              <a:gd name="connsiteY20" fmla="*/ 3880276 h 3880276"/>
              <a:gd name="connsiteX21" fmla="*/ 1338033 w 5461359"/>
              <a:gd name="connsiteY21" fmla="*/ 3880276 h 3880276"/>
              <a:gd name="connsiteX22" fmla="*/ 600749 w 5461359"/>
              <a:gd name="connsiteY22" fmla="*/ 3880276 h 3880276"/>
              <a:gd name="connsiteX23" fmla="*/ 0 w 5461359"/>
              <a:gd name="connsiteY23" fmla="*/ 3880276 h 3880276"/>
              <a:gd name="connsiteX24" fmla="*/ 0 w 5461359"/>
              <a:gd name="connsiteY24" fmla="*/ 3311169 h 3880276"/>
              <a:gd name="connsiteX25" fmla="*/ 0 w 5461359"/>
              <a:gd name="connsiteY25" fmla="*/ 2664456 h 3880276"/>
              <a:gd name="connsiteX26" fmla="*/ 0 w 5461359"/>
              <a:gd name="connsiteY26" fmla="*/ 2095349 h 3880276"/>
              <a:gd name="connsiteX27" fmla="*/ 0 w 5461359"/>
              <a:gd name="connsiteY27" fmla="*/ 1409834 h 3880276"/>
              <a:gd name="connsiteX28" fmla="*/ 0 w 5461359"/>
              <a:gd name="connsiteY28" fmla="*/ 840726 h 3880276"/>
              <a:gd name="connsiteX29" fmla="*/ 0 w 5461359"/>
              <a:gd name="connsiteY29" fmla="*/ 0 h 388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89620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8965B-4398-AD7C-C67A-6878A254B261}"/>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B6D74AF1-C8D4-20CC-683C-CD192AC5BC62}"/>
              </a:ext>
            </a:extLst>
          </p:cNvPr>
          <p:cNvSpPr/>
          <p:nvPr/>
        </p:nvSpPr>
        <p:spPr>
          <a:xfrm>
            <a:off x="6233455" y="750801"/>
            <a:ext cx="5461359" cy="5583392"/>
          </a:xfrm>
          <a:custGeom>
            <a:avLst/>
            <a:gdLst>
              <a:gd name="connsiteX0" fmla="*/ 0 w 5461359"/>
              <a:gd name="connsiteY0" fmla="*/ 0 h 5583392"/>
              <a:gd name="connsiteX1" fmla="*/ 737283 w 5461359"/>
              <a:gd name="connsiteY1" fmla="*/ 0 h 5583392"/>
              <a:gd name="connsiteX2" fmla="*/ 1474567 w 5461359"/>
              <a:gd name="connsiteY2" fmla="*/ 0 h 5583392"/>
              <a:gd name="connsiteX3" fmla="*/ 2048010 w 5461359"/>
              <a:gd name="connsiteY3" fmla="*/ 0 h 5583392"/>
              <a:gd name="connsiteX4" fmla="*/ 2730680 w 5461359"/>
              <a:gd name="connsiteY4" fmla="*/ 0 h 5583392"/>
              <a:gd name="connsiteX5" fmla="*/ 3413349 w 5461359"/>
              <a:gd name="connsiteY5" fmla="*/ 0 h 5583392"/>
              <a:gd name="connsiteX6" fmla="*/ 4205246 w 5461359"/>
              <a:gd name="connsiteY6" fmla="*/ 0 h 5583392"/>
              <a:gd name="connsiteX7" fmla="*/ 4833303 w 5461359"/>
              <a:gd name="connsiteY7" fmla="*/ 0 h 5583392"/>
              <a:gd name="connsiteX8" fmla="*/ 5461359 w 5461359"/>
              <a:gd name="connsiteY8" fmla="*/ 0 h 5583392"/>
              <a:gd name="connsiteX9" fmla="*/ 5461359 w 5461359"/>
              <a:gd name="connsiteY9" fmla="*/ 642090 h 5583392"/>
              <a:gd name="connsiteX10" fmla="*/ 5461359 w 5461359"/>
              <a:gd name="connsiteY10" fmla="*/ 1340014 h 5583392"/>
              <a:gd name="connsiteX11" fmla="*/ 5461359 w 5461359"/>
              <a:gd name="connsiteY11" fmla="*/ 1982104 h 5583392"/>
              <a:gd name="connsiteX12" fmla="*/ 5461359 w 5461359"/>
              <a:gd name="connsiteY12" fmla="*/ 2568360 h 5583392"/>
              <a:gd name="connsiteX13" fmla="*/ 5461359 w 5461359"/>
              <a:gd name="connsiteY13" fmla="*/ 3210450 h 5583392"/>
              <a:gd name="connsiteX14" fmla="*/ 5461359 w 5461359"/>
              <a:gd name="connsiteY14" fmla="*/ 3796707 h 5583392"/>
              <a:gd name="connsiteX15" fmla="*/ 5461359 w 5461359"/>
              <a:gd name="connsiteY15" fmla="*/ 4438797 h 5583392"/>
              <a:gd name="connsiteX16" fmla="*/ 5461359 w 5461359"/>
              <a:gd name="connsiteY16" fmla="*/ 5583392 h 5583392"/>
              <a:gd name="connsiteX17" fmla="*/ 4778689 w 5461359"/>
              <a:gd name="connsiteY17" fmla="*/ 5583392 h 5583392"/>
              <a:gd name="connsiteX18" fmla="*/ 3986792 w 5461359"/>
              <a:gd name="connsiteY18" fmla="*/ 5583392 h 5583392"/>
              <a:gd name="connsiteX19" fmla="*/ 3358736 w 5461359"/>
              <a:gd name="connsiteY19" fmla="*/ 5583392 h 5583392"/>
              <a:gd name="connsiteX20" fmla="*/ 2676066 w 5461359"/>
              <a:gd name="connsiteY20" fmla="*/ 5583392 h 5583392"/>
              <a:gd name="connsiteX21" fmla="*/ 2102623 w 5461359"/>
              <a:gd name="connsiteY21" fmla="*/ 5583392 h 5583392"/>
              <a:gd name="connsiteX22" fmla="*/ 1474567 w 5461359"/>
              <a:gd name="connsiteY22" fmla="*/ 5583392 h 5583392"/>
              <a:gd name="connsiteX23" fmla="*/ 737283 w 5461359"/>
              <a:gd name="connsiteY23" fmla="*/ 5583392 h 5583392"/>
              <a:gd name="connsiteX24" fmla="*/ 0 w 5461359"/>
              <a:gd name="connsiteY24" fmla="*/ 5583392 h 5583392"/>
              <a:gd name="connsiteX25" fmla="*/ 0 w 5461359"/>
              <a:gd name="connsiteY25" fmla="*/ 4885468 h 5583392"/>
              <a:gd name="connsiteX26" fmla="*/ 0 w 5461359"/>
              <a:gd name="connsiteY26" fmla="*/ 4187544 h 5583392"/>
              <a:gd name="connsiteX27" fmla="*/ 0 w 5461359"/>
              <a:gd name="connsiteY27" fmla="*/ 3433786 h 5583392"/>
              <a:gd name="connsiteX28" fmla="*/ 0 w 5461359"/>
              <a:gd name="connsiteY28" fmla="*/ 2903364 h 5583392"/>
              <a:gd name="connsiteX29" fmla="*/ 0 w 5461359"/>
              <a:gd name="connsiteY29" fmla="*/ 2205440 h 5583392"/>
              <a:gd name="connsiteX30" fmla="*/ 0 w 5461359"/>
              <a:gd name="connsiteY30" fmla="*/ 1507516 h 5583392"/>
              <a:gd name="connsiteX31" fmla="*/ 0 w 5461359"/>
              <a:gd name="connsiteY31" fmla="*/ 865426 h 5583392"/>
              <a:gd name="connsiteX32" fmla="*/ 0 w 5461359"/>
              <a:gd name="connsiteY32" fmla="*/ 0 h 5583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61359" h="5583392" fill="none" extrusionOk="0">
                <a:moveTo>
                  <a:pt x="0" y="0"/>
                </a:moveTo>
                <a:cubicBezTo>
                  <a:pt x="173461" y="9373"/>
                  <a:pt x="497756" y="-13155"/>
                  <a:pt x="737283" y="0"/>
                </a:cubicBezTo>
                <a:cubicBezTo>
                  <a:pt x="976810" y="13155"/>
                  <a:pt x="1306370" y="29340"/>
                  <a:pt x="1474567" y="0"/>
                </a:cubicBezTo>
                <a:cubicBezTo>
                  <a:pt x="1642764" y="-29340"/>
                  <a:pt x="1883442" y="-23859"/>
                  <a:pt x="2048010" y="0"/>
                </a:cubicBezTo>
                <a:cubicBezTo>
                  <a:pt x="2212578" y="23859"/>
                  <a:pt x="2394603" y="-4999"/>
                  <a:pt x="2730680" y="0"/>
                </a:cubicBezTo>
                <a:cubicBezTo>
                  <a:pt x="3066757" y="4999"/>
                  <a:pt x="3229252" y="-23838"/>
                  <a:pt x="3413349" y="0"/>
                </a:cubicBezTo>
                <a:cubicBezTo>
                  <a:pt x="3597446" y="23838"/>
                  <a:pt x="3937817" y="-4741"/>
                  <a:pt x="4205246" y="0"/>
                </a:cubicBezTo>
                <a:cubicBezTo>
                  <a:pt x="4472675" y="4741"/>
                  <a:pt x="4674760" y="-26400"/>
                  <a:pt x="4833303" y="0"/>
                </a:cubicBezTo>
                <a:cubicBezTo>
                  <a:pt x="4991846" y="26400"/>
                  <a:pt x="5286476" y="14575"/>
                  <a:pt x="5461359" y="0"/>
                </a:cubicBezTo>
                <a:cubicBezTo>
                  <a:pt x="5455367" y="269248"/>
                  <a:pt x="5461618" y="510009"/>
                  <a:pt x="5461359" y="642090"/>
                </a:cubicBezTo>
                <a:cubicBezTo>
                  <a:pt x="5461101" y="774171"/>
                  <a:pt x="5430822" y="1100814"/>
                  <a:pt x="5461359" y="1340014"/>
                </a:cubicBezTo>
                <a:cubicBezTo>
                  <a:pt x="5491896" y="1579214"/>
                  <a:pt x="5478173" y="1798401"/>
                  <a:pt x="5461359" y="1982104"/>
                </a:cubicBezTo>
                <a:cubicBezTo>
                  <a:pt x="5444546" y="2165807"/>
                  <a:pt x="5489531" y="2315140"/>
                  <a:pt x="5461359" y="2568360"/>
                </a:cubicBezTo>
                <a:cubicBezTo>
                  <a:pt x="5433187" y="2821580"/>
                  <a:pt x="5468917" y="3013623"/>
                  <a:pt x="5461359" y="3210450"/>
                </a:cubicBezTo>
                <a:cubicBezTo>
                  <a:pt x="5453802" y="3407277"/>
                  <a:pt x="5461316" y="3588741"/>
                  <a:pt x="5461359" y="3796707"/>
                </a:cubicBezTo>
                <a:cubicBezTo>
                  <a:pt x="5461402" y="4004673"/>
                  <a:pt x="5484723" y="4215564"/>
                  <a:pt x="5461359" y="4438797"/>
                </a:cubicBezTo>
                <a:cubicBezTo>
                  <a:pt x="5437996" y="4662030"/>
                  <a:pt x="5452059" y="5237704"/>
                  <a:pt x="5461359" y="5583392"/>
                </a:cubicBezTo>
                <a:cubicBezTo>
                  <a:pt x="5322593" y="5577533"/>
                  <a:pt x="4979361" y="5578736"/>
                  <a:pt x="4778689" y="5583392"/>
                </a:cubicBezTo>
                <a:cubicBezTo>
                  <a:pt x="4578017" y="5588049"/>
                  <a:pt x="4313414" y="5602981"/>
                  <a:pt x="3986792" y="5583392"/>
                </a:cubicBezTo>
                <a:cubicBezTo>
                  <a:pt x="3660170" y="5563803"/>
                  <a:pt x="3489143" y="5582641"/>
                  <a:pt x="3358736" y="5583392"/>
                </a:cubicBezTo>
                <a:cubicBezTo>
                  <a:pt x="3228329" y="5584143"/>
                  <a:pt x="2902606" y="5585843"/>
                  <a:pt x="2676066" y="5583392"/>
                </a:cubicBezTo>
                <a:cubicBezTo>
                  <a:pt x="2449526" y="5580942"/>
                  <a:pt x="2371447" y="5555362"/>
                  <a:pt x="2102623" y="5583392"/>
                </a:cubicBezTo>
                <a:cubicBezTo>
                  <a:pt x="1833799" y="5611422"/>
                  <a:pt x="1626187" y="5555201"/>
                  <a:pt x="1474567" y="5583392"/>
                </a:cubicBezTo>
                <a:cubicBezTo>
                  <a:pt x="1322947" y="5611583"/>
                  <a:pt x="989280" y="5557030"/>
                  <a:pt x="737283" y="5583392"/>
                </a:cubicBezTo>
                <a:cubicBezTo>
                  <a:pt x="485286" y="5609754"/>
                  <a:pt x="278973" y="5591242"/>
                  <a:pt x="0" y="5583392"/>
                </a:cubicBezTo>
                <a:cubicBezTo>
                  <a:pt x="29033" y="5306857"/>
                  <a:pt x="-3894" y="5216205"/>
                  <a:pt x="0" y="4885468"/>
                </a:cubicBezTo>
                <a:cubicBezTo>
                  <a:pt x="3894" y="4554731"/>
                  <a:pt x="-34736" y="4463335"/>
                  <a:pt x="0" y="4187544"/>
                </a:cubicBezTo>
                <a:cubicBezTo>
                  <a:pt x="34736" y="3911753"/>
                  <a:pt x="-29385" y="3733265"/>
                  <a:pt x="0" y="3433786"/>
                </a:cubicBezTo>
                <a:cubicBezTo>
                  <a:pt x="29385" y="3134307"/>
                  <a:pt x="-17441" y="3060999"/>
                  <a:pt x="0" y="2903364"/>
                </a:cubicBezTo>
                <a:cubicBezTo>
                  <a:pt x="17441" y="2745729"/>
                  <a:pt x="-3624" y="2526094"/>
                  <a:pt x="0" y="2205440"/>
                </a:cubicBezTo>
                <a:cubicBezTo>
                  <a:pt x="3624" y="1884786"/>
                  <a:pt x="24632" y="1809727"/>
                  <a:pt x="0" y="1507516"/>
                </a:cubicBezTo>
                <a:cubicBezTo>
                  <a:pt x="-24632" y="1205305"/>
                  <a:pt x="-14962" y="1170752"/>
                  <a:pt x="0" y="865426"/>
                </a:cubicBezTo>
                <a:cubicBezTo>
                  <a:pt x="14962" y="560100"/>
                  <a:pt x="29520" y="370255"/>
                  <a:pt x="0" y="0"/>
                </a:cubicBezTo>
                <a:close/>
              </a:path>
              <a:path w="5461359" h="5583392"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33834" y="257387"/>
                  <a:pt x="5434647" y="441845"/>
                  <a:pt x="5461359" y="642090"/>
                </a:cubicBezTo>
                <a:cubicBezTo>
                  <a:pt x="5488072" y="842335"/>
                  <a:pt x="5470030" y="1021349"/>
                  <a:pt x="5461359" y="1172512"/>
                </a:cubicBezTo>
                <a:cubicBezTo>
                  <a:pt x="5452688" y="1323675"/>
                  <a:pt x="5476431" y="1564964"/>
                  <a:pt x="5461359" y="1814602"/>
                </a:cubicBezTo>
                <a:cubicBezTo>
                  <a:pt x="5446288" y="2064240"/>
                  <a:pt x="5465107" y="2303804"/>
                  <a:pt x="5461359" y="2456692"/>
                </a:cubicBezTo>
                <a:cubicBezTo>
                  <a:pt x="5457612" y="2609580"/>
                  <a:pt x="5473479" y="2915689"/>
                  <a:pt x="5461359" y="3210450"/>
                </a:cubicBezTo>
                <a:cubicBezTo>
                  <a:pt x="5449239" y="3505211"/>
                  <a:pt x="5479454" y="3556940"/>
                  <a:pt x="5461359" y="3796707"/>
                </a:cubicBezTo>
                <a:cubicBezTo>
                  <a:pt x="5443264" y="4036474"/>
                  <a:pt x="5448527" y="4307951"/>
                  <a:pt x="5461359" y="4438797"/>
                </a:cubicBezTo>
                <a:cubicBezTo>
                  <a:pt x="5474192" y="4569643"/>
                  <a:pt x="5476642" y="5126701"/>
                  <a:pt x="5461359" y="5583392"/>
                </a:cubicBezTo>
                <a:cubicBezTo>
                  <a:pt x="5182884" y="5600762"/>
                  <a:pt x="5044107" y="5560873"/>
                  <a:pt x="4887916" y="5583392"/>
                </a:cubicBezTo>
                <a:cubicBezTo>
                  <a:pt x="4731725" y="5605911"/>
                  <a:pt x="4376918" y="5572794"/>
                  <a:pt x="4150633" y="5583392"/>
                </a:cubicBezTo>
                <a:cubicBezTo>
                  <a:pt x="3924348" y="5593990"/>
                  <a:pt x="3791622" y="5563926"/>
                  <a:pt x="3631804" y="5583392"/>
                </a:cubicBezTo>
                <a:cubicBezTo>
                  <a:pt x="3471986" y="5602858"/>
                  <a:pt x="3319363" y="5604705"/>
                  <a:pt x="3112975" y="5583392"/>
                </a:cubicBezTo>
                <a:cubicBezTo>
                  <a:pt x="2906587" y="5562079"/>
                  <a:pt x="2659549" y="5609272"/>
                  <a:pt x="2539532" y="5583392"/>
                </a:cubicBezTo>
                <a:cubicBezTo>
                  <a:pt x="2419515" y="5557512"/>
                  <a:pt x="2010954" y="5613419"/>
                  <a:pt x="1802248" y="5583392"/>
                </a:cubicBezTo>
                <a:cubicBezTo>
                  <a:pt x="1593542" y="5553365"/>
                  <a:pt x="1425338" y="5557030"/>
                  <a:pt x="1119579" y="5583392"/>
                </a:cubicBezTo>
                <a:cubicBezTo>
                  <a:pt x="813820" y="5609754"/>
                  <a:pt x="376854" y="5638965"/>
                  <a:pt x="0" y="5583392"/>
                </a:cubicBezTo>
                <a:cubicBezTo>
                  <a:pt x="-9407" y="5331099"/>
                  <a:pt x="-19832" y="5249704"/>
                  <a:pt x="0" y="4941302"/>
                </a:cubicBezTo>
                <a:cubicBezTo>
                  <a:pt x="19832" y="4632900"/>
                  <a:pt x="19859" y="4543715"/>
                  <a:pt x="0" y="4355046"/>
                </a:cubicBezTo>
                <a:cubicBezTo>
                  <a:pt x="-19859" y="4166377"/>
                  <a:pt x="4817" y="3796378"/>
                  <a:pt x="0" y="3601288"/>
                </a:cubicBezTo>
                <a:cubicBezTo>
                  <a:pt x="-4817" y="3406198"/>
                  <a:pt x="22406" y="3305432"/>
                  <a:pt x="0" y="3015032"/>
                </a:cubicBezTo>
                <a:cubicBezTo>
                  <a:pt x="-22406" y="2724632"/>
                  <a:pt x="3472" y="2414320"/>
                  <a:pt x="0" y="2261274"/>
                </a:cubicBezTo>
                <a:cubicBezTo>
                  <a:pt x="-3472" y="2108228"/>
                  <a:pt x="8485" y="1978976"/>
                  <a:pt x="0" y="1730852"/>
                </a:cubicBezTo>
                <a:cubicBezTo>
                  <a:pt x="-8485" y="1482728"/>
                  <a:pt x="-25538" y="1424646"/>
                  <a:pt x="0" y="1200429"/>
                </a:cubicBezTo>
                <a:cubicBezTo>
                  <a:pt x="25538" y="976212"/>
                  <a:pt x="57249" y="490196"/>
                  <a:pt x="0" y="0"/>
                </a:cubicBezTo>
                <a:close/>
              </a:path>
            </a:pathLst>
          </a:custGeom>
          <a:solidFill>
            <a:srgbClr val="97A2BD"/>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dirty="0">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dirty="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9" name="think-cell data - do not delete" hidden="1">
            <a:extLst>
              <a:ext uri="{FF2B5EF4-FFF2-40B4-BE49-F238E27FC236}">
                <a16:creationId xmlns:a16="http://schemas.microsoft.com/office/drawing/2014/main" id="{F40C44E0-0BD8-F317-B4E0-2C31C88489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F40C44E0-0BD8-F317-B4E0-2C31C88489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7DFF1B85-359D-AE0D-3E44-C9E78AA22B02}"/>
              </a:ext>
            </a:extLst>
          </p:cNvPr>
          <p:cNvSpPr>
            <a:spLocks noGrp="1"/>
          </p:cNvSpPr>
          <p:nvPr>
            <p:ph type="sldNum" sz="quarter" idx="12"/>
          </p:nvPr>
        </p:nvSpPr>
        <p:spPr/>
        <p:txBody>
          <a:bodyPr/>
          <a:lstStyle/>
          <a:p>
            <a:fld id="{D1CF6110-3358-3240-B3E6-2B2529506D05}" type="slidenum">
              <a:rPr lang="da-DK" smtClean="0"/>
              <a:t>27</a:t>
            </a:fld>
            <a:endParaRPr lang="da-DK"/>
          </a:p>
        </p:txBody>
      </p:sp>
      <p:sp>
        <p:nvSpPr>
          <p:cNvPr id="8" name="Rectangle 7">
            <a:extLst>
              <a:ext uri="{FF2B5EF4-FFF2-40B4-BE49-F238E27FC236}">
                <a16:creationId xmlns:a16="http://schemas.microsoft.com/office/drawing/2014/main" id="{E8BC8F28-8B2B-1E4F-B402-F3C76361EB5B}"/>
              </a:ext>
            </a:extLst>
          </p:cNvPr>
          <p:cNvSpPr/>
          <p:nvPr/>
        </p:nvSpPr>
        <p:spPr>
          <a:xfrm>
            <a:off x="522889" y="1747168"/>
            <a:ext cx="5146391" cy="19807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a:t>
            </a:r>
          </a:p>
        </p:txBody>
      </p:sp>
      <p:sp>
        <p:nvSpPr>
          <p:cNvPr id="14" name="Title 1">
            <a:extLst>
              <a:ext uri="{FF2B5EF4-FFF2-40B4-BE49-F238E27FC236}">
                <a16:creationId xmlns:a16="http://schemas.microsoft.com/office/drawing/2014/main" id="{BACED026-7DFB-1380-7112-65F34DEF956D}"/>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DM Sans" pitchFamily="2" charset="77"/>
                <a:ea typeface="Verdana" panose="020B0604030504040204" pitchFamily="34" charset="0"/>
                <a:cs typeface="HelveticaNowDisplay Regular" panose="020B0504030202020204" pitchFamily="34" charset="77"/>
              </a:rPr>
              <a:t>[Navn på målepunkt 2]</a:t>
            </a:r>
            <a:endParaRPr lang="da-DK" sz="4000" dirty="0">
              <a:solidFill>
                <a:srgbClr val="005850"/>
              </a:solidFill>
              <a:latin typeface="DM Sans" pitchFamily="2" charset="0"/>
              <a:ea typeface="Verdana" panose="020B0604030504040204" pitchFamily="34" charset="0"/>
            </a:endParaRPr>
          </a:p>
        </p:txBody>
      </p:sp>
      <p:sp>
        <p:nvSpPr>
          <p:cNvPr id="3" name="Rectangle: Rounded Corners 3">
            <a:extLst>
              <a:ext uri="{FF2B5EF4-FFF2-40B4-BE49-F238E27FC236}">
                <a16:creationId xmlns:a16="http://schemas.microsoft.com/office/drawing/2014/main" id="{02BBBF54-A985-A5DA-8B97-A1C950CBFA5C}"/>
              </a:ext>
            </a:extLst>
          </p:cNvPr>
          <p:cNvSpPr/>
          <p:nvPr/>
        </p:nvSpPr>
        <p:spPr>
          <a:xfrm>
            <a:off x="6480514" y="1235526"/>
            <a:ext cx="4899332" cy="486386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 eller dashboard]</a:t>
            </a:r>
          </a:p>
        </p:txBody>
      </p:sp>
      <p:pic>
        <p:nvPicPr>
          <p:cNvPr id="2" name="Picture 1" descr="A blue and white logo&#10;&#10;AI-generated content may be incorrect.">
            <a:extLst>
              <a:ext uri="{FF2B5EF4-FFF2-40B4-BE49-F238E27FC236}">
                <a16:creationId xmlns:a16="http://schemas.microsoft.com/office/drawing/2014/main" id="{DE7CBCD4-030E-D171-BA50-4EAF5610DB58}"/>
              </a:ext>
            </a:extLst>
          </p:cNvPr>
          <p:cNvPicPr>
            <a:picLocks noChangeAspect="1"/>
          </p:cNvPicPr>
          <p:nvPr/>
        </p:nvPicPr>
        <p:blipFill>
          <a:blip r:embed="rId5">
            <a:alphaModFix/>
          </a:blip>
          <a:stretch>
            <a:fillRect/>
          </a:stretch>
        </p:blipFill>
        <p:spPr>
          <a:xfrm>
            <a:off x="11027227" y="89320"/>
            <a:ext cx="667587" cy="696082"/>
          </a:xfrm>
          <a:prstGeom prst="rect">
            <a:avLst/>
          </a:prstGeom>
        </p:spPr>
      </p:pic>
    </p:spTree>
    <p:extLst>
      <p:ext uri="{BB962C8B-B14F-4D97-AF65-F5344CB8AC3E}">
        <p14:creationId xmlns:p14="http://schemas.microsoft.com/office/powerpoint/2010/main" val="40207384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F60CC762-F7EB-0B10-CEBB-413568E7F57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F8E0F6-93EC-1B73-BB24-33B40F4B15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3DF8E0F6-93EC-1B73-BB24-33B40F4B15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9154701-EFDA-0A66-54CB-20CA89CB1747}"/>
              </a:ext>
            </a:extLst>
          </p:cNvPr>
          <p:cNvSpPr>
            <a:spLocks noGrp="1"/>
          </p:cNvSpPr>
          <p:nvPr>
            <p:ph type="title"/>
          </p:nvPr>
        </p:nvSpPr>
        <p:spPr>
          <a:xfrm>
            <a:off x="578069" y="654269"/>
            <a:ext cx="10515600" cy="831467"/>
          </a:xfrm>
        </p:spPr>
        <p:txBody>
          <a:bodyPr vert="horz">
            <a:normAutofit/>
          </a:bodyPr>
          <a:lstStyle/>
          <a:p>
            <a:r>
              <a:rPr lang="da-DK" sz="4000" b="1" dirty="0">
                <a:solidFill>
                  <a:schemeClr val="bg1"/>
                </a:solidFill>
                <a:latin typeface="Verdana" panose="020B0604030504040204" pitchFamily="34" charset="0"/>
                <a:ea typeface="Verdana" panose="020B0604030504040204" pitchFamily="34" charset="0"/>
              </a:rPr>
              <a:t>Alle ESG-nøgletal</a:t>
            </a:r>
          </a:p>
        </p:txBody>
      </p:sp>
      <p:sp>
        <p:nvSpPr>
          <p:cNvPr id="5" name="Pladsholder til slidenummer 4">
            <a:extLst>
              <a:ext uri="{FF2B5EF4-FFF2-40B4-BE49-F238E27FC236}">
                <a16:creationId xmlns:a16="http://schemas.microsoft.com/office/drawing/2014/main" id="{601E9548-5258-42C4-F130-ED41114BB3B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Rounded Corners 3">
            <a:extLst>
              <a:ext uri="{FF2B5EF4-FFF2-40B4-BE49-F238E27FC236}">
                <a16:creationId xmlns:a16="http://schemas.microsoft.com/office/drawing/2014/main" id="{EF0C46B7-3820-3112-C8B4-604BAF9C58A9}"/>
              </a:ext>
            </a:extLst>
          </p:cNvPr>
          <p:cNvSpPr/>
          <p:nvPr/>
        </p:nvSpPr>
        <p:spPr>
          <a:xfrm>
            <a:off x="6392778" y="2043242"/>
            <a:ext cx="5221153" cy="3580834"/>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dirty="0">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4" name="Tekstfelt 7">
            <a:extLst>
              <a:ext uri="{FF2B5EF4-FFF2-40B4-BE49-F238E27FC236}">
                <a16:creationId xmlns:a16="http://schemas.microsoft.com/office/drawing/2014/main" id="{A29CCA82-175A-8557-9358-528005470087}"/>
              </a:ext>
            </a:extLst>
          </p:cNvPr>
          <p:cNvSpPr txBox="1"/>
          <p:nvPr/>
        </p:nvSpPr>
        <p:spPr>
          <a:xfrm>
            <a:off x="578069" y="4526605"/>
            <a:ext cx="2495722" cy="1677126"/>
          </a:xfrm>
          <a:prstGeom prst="rect">
            <a:avLst/>
          </a:prstGeom>
          <a:noFill/>
        </p:spPr>
        <p:txBody>
          <a:bodyPr wrap="square" rtlCol="0" anchor="b">
            <a:spAutoFit/>
          </a:bodyPr>
          <a:lstStyle/>
          <a:p>
            <a:pPr lvl="0">
              <a:lnSpc>
                <a:spcPct val="120000"/>
              </a:lnSpc>
            </a:pPr>
            <a:r>
              <a:rPr lang="da-DK" sz="9600" b="1" dirty="0">
                <a:solidFill>
                  <a:schemeClr val="bg1"/>
                </a:solidFill>
                <a:latin typeface="Verdana" panose="020B0604030504040204" pitchFamily="34" charset="0"/>
                <a:ea typeface="Verdana" panose="020B0604030504040204" pitchFamily="34" charset="0"/>
                <a:cs typeface="Verdana" panose="020B0604030504040204" pitchFamily="34" charset="0"/>
              </a:rPr>
              <a:t>04</a:t>
            </a:r>
          </a:p>
        </p:txBody>
      </p:sp>
      <p:sp>
        <p:nvSpPr>
          <p:cNvPr id="7" name="Rectangle: Rounded Corners 3">
            <a:extLst>
              <a:ext uri="{FF2B5EF4-FFF2-40B4-BE49-F238E27FC236}">
                <a16:creationId xmlns:a16="http://schemas.microsoft.com/office/drawing/2014/main" id="{999279B4-CEB8-D8A5-5C74-6E2F4E77CD62}"/>
              </a:ext>
            </a:extLst>
          </p:cNvPr>
          <p:cNvSpPr/>
          <p:nvPr/>
        </p:nvSpPr>
        <p:spPr>
          <a:xfrm>
            <a:off x="285457" y="1070002"/>
            <a:ext cx="6173653" cy="1628428"/>
          </a:xfrm>
          <a:prstGeom prst="roundRect">
            <a:avLst>
              <a:gd name="adj" fmla="val 0"/>
            </a:avLst>
          </a:prstGeom>
          <a:noFill/>
          <a:ln w="12700">
            <a:no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t"/>
          <a:lstStyle/>
          <a:p>
            <a:endParaRPr lang="da-DK" sz="1200" b="1" dirty="0">
              <a:solidFill>
                <a:schemeClr val="bg1"/>
              </a:solidFill>
              <a:latin typeface="Verdana" panose="020B0604030504040204" pitchFamily="34" charset="0"/>
              <a:ea typeface="Verdana" panose="020B0604030504040204" pitchFamily="34" charset="0"/>
            </a:endParaRPr>
          </a:p>
          <a:p>
            <a:endParaRPr lang="da-DK" sz="1200" b="1" dirty="0">
              <a:solidFill>
                <a:schemeClr val="bg1"/>
              </a:solidFill>
              <a:latin typeface="Verdana" panose="020B0604030504040204" pitchFamily="34" charset="0"/>
              <a:ea typeface="Verdana" panose="020B0604030504040204" pitchFamily="34" charset="0"/>
            </a:endParaRPr>
          </a:p>
          <a:p>
            <a:r>
              <a:rPr lang="da-DK" sz="1200" b="1" dirty="0">
                <a:solidFill>
                  <a:schemeClr val="bg1"/>
                </a:solidFill>
                <a:latin typeface="Verdana" panose="020B0604030504040204" pitchFamily="34" charset="0"/>
                <a:ea typeface="Verdana" panose="020B0604030504040204" pitchFamily="34" charset="0"/>
              </a:rPr>
              <a:t>I dette afsnit finder du nøgletal for de 20 </a:t>
            </a:r>
            <a:r>
              <a:rPr lang="da-DK" sz="1200" b="1" dirty="0" err="1">
                <a:solidFill>
                  <a:schemeClr val="bg1"/>
                </a:solidFill>
                <a:latin typeface="Verdana" panose="020B0604030504040204" pitchFamily="34" charset="0"/>
                <a:ea typeface="Verdana" panose="020B0604030504040204" pitchFamily="34" charset="0"/>
              </a:rPr>
              <a:t>AlmenKompas</a:t>
            </a:r>
            <a:r>
              <a:rPr lang="da-DK" sz="1200" b="1" dirty="0">
                <a:solidFill>
                  <a:schemeClr val="bg1"/>
                </a:solidFill>
                <a:latin typeface="Verdana" panose="020B0604030504040204" pitchFamily="34" charset="0"/>
                <a:ea typeface="Verdana" panose="020B0604030504040204" pitchFamily="34" charset="0"/>
              </a:rPr>
              <a:t>-målepunkter på organisationsniveau samt der redegøres for datagrundlag og regnskabspraksis.</a:t>
            </a:r>
          </a:p>
        </p:txBody>
      </p:sp>
    </p:spTree>
    <p:extLst>
      <p:ext uri="{BB962C8B-B14F-4D97-AF65-F5344CB8AC3E}">
        <p14:creationId xmlns:p14="http://schemas.microsoft.com/office/powerpoint/2010/main" val="10006771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6A4DE-A522-0FC7-CE4A-33870A88DE9B}"/>
            </a:ext>
          </a:extLst>
        </p:cNvPr>
        <p:cNvGrpSpPr/>
        <p:nvPr/>
      </p:nvGrpSpPr>
      <p:grpSpPr>
        <a:xfrm>
          <a:off x="0" y="0"/>
          <a:ext cx="0" cy="0"/>
          <a:chOff x="0" y="0"/>
          <a:chExt cx="0" cy="0"/>
        </a:xfrm>
      </p:grpSpPr>
      <p:sp>
        <p:nvSpPr>
          <p:cNvPr id="5" name="Pladsholder til slidenummer 4">
            <a:extLst>
              <a:ext uri="{FF2B5EF4-FFF2-40B4-BE49-F238E27FC236}">
                <a16:creationId xmlns:a16="http://schemas.microsoft.com/office/drawing/2014/main" id="{207FD06F-A664-796D-A895-C328373D50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2" name="Rektangel 1">
            <a:extLst>
              <a:ext uri="{FF2B5EF4-FFF2-40B4-BE49-F238E27FC236}">
                <a16:creationId xmlns:a16="http://schemas.microsoft.com/office/drawing/2014/main" id="{50AAFB59-4037-1E98-60E3-64706F987C6F}"/>
              </a:ext>
            </a:extLst>
          </p:cNvPr>
          <p:cNvSpPr/>
          <p:nvPr/>
        </p:nvSpPr>
        <p:spPr>
          <a:xfrm>
            <a:off x="609600" y="1663336"/>
            <a:ext cx="10972800" cy="4378875"/>
          </a:xfrm>
          <a:prstGeom prst="rect">
            <a:avLst/>
          </a:prstGeom>
          <a:solidFill>
            <a:srgbClr val="F9F9F2"/>
          </a:solidFill>
          <a:ln w="12700">
            <a:solidFill>
              <a:srgbClr val="005850"/>
            </a:solidFill>
            <a:prstDash val="dash"/>
            <a:extLst>
              <a:ext uri="{C807C97D-BFC1-408E-A445-0C87EB9F89A2}">
                <ask:lineSketchStyleProps xmlns:ask="http://schemas.microsoft.com/office/drawing/2018/sketchyshapes" sd="70366811">
                  <a:custGeom>
                    <a:avLst/>
                    <a:gdLst>
                      <a:gd name="connsiteX0" fmla="*/ 0 w 10972800"/>
                      <a:gd name="connsiteY0" fmla="*/ 0 h 4378875"/>
                      <a:gd name="connsiteX1" fmla="*/ 466344 w 10972800"/>
                      <a:gd name="connsiteY1" fmla="*/ 0 h 4378875"/>
                      <a:gd name="connsiteX2" fmla="*/ 1042416 w 10972800"/>
                      <a:gd name="connsiteY2" fmla="*/ 0 h 4378875"/>
                      <a:gd name="connsiteX3" fmla="*/ 1837944 w 10972800"/>
                      <a:gd name="connsiteY3" fmla="*/ 0 h 4378875"/>
                      <a:gd name="connsiteX4" fmla="*/ 2633472 w 10972800"/>
                      <a:gd name="connsiteY4" fmla="*/ 0 h 4378875"/>
                      <a:gd name="connsiteX5" fmla="*/ 3319272 w 10972800"/>
                      <a:gd name="connsiteY5" fmla="*/ 0 h 4378875"/>
                      <a:gd name="connsiteX6" fmla="*/ 4114800 w 10972800"/>
                      <a:gd name="connsiteY6" fmla="*/ 0 h 4378875"/>
                      <a:gd name="connsiteX7" fmla="*/ 4910328 w 10972800"/>
                      <a:gd name="connsiteY7" fmla="*/ 0 h 4378875"/>
                      <a:gd name="connsiteX8" fmla="*/ 5596128 w 10972800"/>
                      <a:gd name="connsiteY8" fmla="*/ 0 h 4378875"/>
                      <a:gd name="connsiteX9" fmla="*/ 6062472 w 10972800"/>
                      <a:gd name="connsiteY9" fmla="*/ 0 h 4378875"/>
                      <a:gd name="connsiteX10" fmla="*/ 6967728 w 10972800"/>
                      <a:gd name="connsiteY10" fmla="*/ 0 h 4378875"/>
                      <a:gd name="connsiteX11" fmla="*/ 7324344 w 10972800"/>
                      <a:gd name="connsiteY11" fmla="*/ 0 h 4378875"/>
                      <a:gd name="connsiteX12" fmla="*/ 7900416 w 10972800"/>
                      <a:gd name="connsiteY12" fmla="*/ 0 h 4378875"/>
                      <a:gd name="connsiteX13" fmla="*/ 8476488 w 10972800"/>
                      <a:gd name="connsiteY13" fmla="*/ 0 h 4378875"/>
                      <a:gd name="connsiteX14" fmla="*/ 9272016 w 10972800"/>
                      <a:gd name="connsiteY14" fmla="*/ 0 h 4378875"/>
                      <a:gd name="connsiteX15" fmla="*/ 9738360 w 10972800"/>
                      <a:gd name="connsiteY15" fmla="*/ 0 h 4378875"/>
                      <a:gd name="connsiteX16" fmla="*/ 10972800 w 10972800"/>
                      <a:gd name="connsiteY16" fmla="*/ 0 h 4378875"/>
                      <a:gd name="connsiteX17" fmla="*/ 10972800 w 10972800"/>
                      <a:gd name="connsiteY17" fmla="*/ 713131 h 4378875"/>
                      <a:gd name="connsiteX18" fmla="*/ 10972800 w 10972800"/>
                      <a:gd name="connsiteY18" fmla="*/ 1207318 h 4378875"/>
                      <a:gd name="connsiteX19" fmla="*/ 10972800 w 10972800"/>
                      <a:gd name="connsiteY19" fmla="*/ 1789083 h 4378875"/>
                      <a:gd name="connsiteX20" fmla="*/ 10972800 w 10972800"/>
                      <a:gd name="connsiteY20" fmla="*/ 2502214 h 4378875"/>
                      <a:gd name="connsiteX21" fmla="*/ 10972800 w 10972800"/>
                      <a:gd name="connsiteY21" fmla="*/ 3083979 h 4378875"/>
                      <a:gd name="connsiteX22" fmla="*/ 10972800 w 10972800"/>
                      <a:gd name="connsiteY22" fmla="*/ 3709533 h 4378875"/>
                      <a:gd name="connsiteX23" fmla="*/ 10972800 w 10972800"/>
                      <a:gd name="connsiteY23" fmla="*/ 4378875 h 4378875"/>
                      <a:gd name="connsiteX24" fmla="*/ 10287000 w 10972800"/>
                      <a:gd name="connsiteY24" fmla="*/ 4378875 h 4378875"/>
                      <a:gd name="connsiteX25" fmla="*/ 9381744 w 10972800"/>
                      <a:gd name="connsiteY25" fmla="*/ 4378875 h 4378875"/>
                      <a:gd name="connsiteX26" fmla="*/ 8586216 w 10972800"/>
                      <a:gd name="connsiteY26" fmla="*/ 4378875 h 4378875"/>
                      <a:gd name="connsiteX27" fmla="*/ 7680960 w 10972800"/>
                      <a:gd name="connsiteY27" fmla="*/ 4378875 h 4378875"/>
                      <a:gd name="connsiteX28" fmla="*/ 6995160 w 10972800"/>
                      <a:gd name="connsiteY28" fmla="*/ 4378875 h 4378875"/>
                      <a:gd name="connsiteX29" fmla="*/ 6309360 w 10972800"/>
                      <a:gd name="connsiteY29" fmla="*/ 4378875 h 4378875"/>
                      <a:gd name="connsiteX30" fmla="*/ 5623560 w 10972800"/>
                      <a:gd name="connsiteY30" fmla="*/ 4378875 h 4378875"/>
                      <a:gd name="connsiteX31" fmla="*/ 5047488 w 10972800"/>
                      <a:gd name="connsiteY31" fmla="*/ 4378875 h 4378875"/>
                      <a:gd name="connsiteX32" fmla="*/ 4361688 w 10972800"/>
                      <a:gd name="connsiteY32" fmla="*/ 4378875 h 4378875"/>
                      <a:gd name="connsiteX33" fmla="*/ 3456432 w 10972800"/>
                      <a:gd name="connsiteY33" fmla="*/ 4378875 h 4378875"/>
                      <a:gd name="connsiteX34" fmla="*/ 2660904 w 10972800"/>
                      <a:gd name="connsiteY34" fmla="*/ 4378875 h 4378875"/>
                      <a:gd name="connsiteX35" fmla="*/ 2084832 w 10972800"/>
                      <a:gd name="connsiteY35" fmla="*/ 4378875 h 4378875"/>
                      <a:gd name="connsiteX36" fmla="*/ 1728216 w 10972800"/>
                      <a:gd name="connsiteY36" fmla="*/ 4378875 h 4378875"/>
                      <a:gd name="connsiteX37" fmla="*/ 932688 w 10972800"/>
                      <a:gd name="connsiteY37" fmla="*/ 4378875 h 4378875"/>
                      <a:gd name="connsiteX38" fmla="*/ 0 w 10972800"/>
                      <a:gd name="connsiteY38" fmla="*/ 4378875 h 4378875"/>
                      <a:gd name="connsiteX39" fmla="*/ 0 w 10972800"/>
                      <a:gd name="connsiteY39" fmla="*/ 3797110 h 4378875"/>
                      <a:gd name="connsiteX40" fmla="*/ 0 w 10972800"/>
                      <a:gd name="connsiteY40" fmla="*/ 3259134 h 4378875"/>
                      <a:gd name="connsiteX41" fmla="*/ 0 w 10972800"/>
                      <a:gd name="connsiteY41" fmla="*/ 2633581 h 4378875"/>
                      <a:gd name="connsiteX42" fmla="*/ 0 w 10972800"/>
                      <a:gd name="connsiteY42" fmla="*/ 1920449 h 4378875"/>
                      <a:gd name="connsiteX43" fmla="*/ 0 w 10972800"/>
                      <a:gd name="connsiteY43" fmla="*/ 1207318 h 4378875"/>
                      <a:gd name="connsiteX44" fmla="*/ 0 w 10972800"/>
                      <a:gd name="connsiteY44" fmla="*/ 713131 h 4378875"/>
                      <a:gd name="connsiteX45" fmla="*/ 0 w 10972800"/>
                      <a:gd name="connsiteY45" fmla="*/ 0 h 437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972800" h="4378875" fill="none" extrusionOk="0">
                        <a:moveTo>
                          <a:pt x="0" y="0"/>
                        </a:moveTo>
                        <a:cubicBezTo>
                          <a:pt x="205295" y="-6466"/>
                          <a:pt x="281609" y="-18209"/>
                          <a:pt x="466344" y="0"/>
                        </a:cubicBezTo>
                        <a:cubicBezTo>
                          <a:pt x="651079" y="18209"/>
                          <a:pt x="810246" y="-7961"/>
                          <a:pt x="1042416" y="0"/>
                        </a:cubicBezTo>
                        <a:cubicBezTo>
                          <a:pt x="1274586" y="7961"/>
                          <a:pt x="1467752" y="31311"/>
                          <a:pt x="1837944" y="0"/>
                        </a:cubicBezTo>
                        <a:cubicBezTo>
                          <a:pt x="2208136" y="-31311"/>
                          <a:pt x="2255011" y="-29376"/>
                          <a:pt x="2633472" y="0"/>
                        </a:cubicBezTo>
                        <a:cubicBezTo>
                          <a:pt x="3011933" y="29376"/>
                          <a:pt x="2991700" y="1614"/>
                          <a:pt x="3319272" y="0"/>
                        </a:cubicBezTo>
                        <a:cubicBezTo>
                          <a:pt x="3646844" y="-1614"/>
                          <a:pt x="3774987" y="24461"/>
                          <a:pt x="4114800" y="0"/>
                        </a:cubicBezTo>
                        <a:cubicBezTo>
                          <a:pt x="4454613" y="-24461"/>
                          <a:pt x="4639031" y="-19379"/>
                          <a:pt x="4910328" y="0"/>
                        </a:cubicBezTo>
                        <a:cubicBezTo>
                          <a:pt x="5181625" y="19379"/>
                          <a:pt x="5440144" y="-22813"/>
                          <a:pt x="5596128" y="0"/>
                        </a:cubicBezTo>
                        <a:cubicBezTo>
                          <a:pt x="5752112" y="22813"/>
                          <a:pt x="5862152" y="-20951"/>
                          <a:pt x="6062472" y="0"/>
                        </a:cubicBezTo>
                        <a:cubicBezTo>
                          <a:pt x="6262792" y="20951"/>
                          <a:pt x="6781205" y="-43535"/>
                          <a:pt x="6967728" y="0"/>
                        </a:cubicBezTo>
                        <a:cubicBezTo>
                          <a:pt x="7154251" y="43535"/>
                          <a:pt x="7229201" y="8110"/>
                          <a:pt x="7324344" y="0"/>
                        </a:cubicBezTo>
                        <a:cubicBezTo>
                          <a:pt x="7419487" y="-8110"/>
                          <a:pt x="7700337" y="-26429"/>
                          <a:pt x="7900416" y="0"/>
                        </a:cubicBezTo>
                        <a:cubicBezTo>
                          <a:pt x="8100495" y="26429"/>
                          <a:pt x="8232421" y="6421"/>
                          <a:pt x="8476488" y="0"/>
                        </a:cubicBezTo>
                        <a:cubicBezTo>
                          <a:pt x="8720555" y="-6421"/>
                          <a:pt x="9037515" y="30560"/>
                          <a:pt x="9272016" y="0"/>
                        </a:cubicBezTo>
                        <a:cubicBezTo>
                          <a:pt x="9506517" y="-30560"/>
                          <a:pt x="9636918" y="22831"/>
                          <a:pt x="9738360" y="0"/>
                        </a:cubicBezTo>
                        <a:cubicBezTo>
                          <a:pt x="9839802" y="-22831"/>
                          <a:pt x="10601479" y="-8672"/>
                          <a:pt x="10972800" y="0"/>
                        </a:cubicBezTo>
                        <a:cubicBezTo>
                          <a:pt x="10983610" y="251111"/>
                          <a:pt x="10982338" y="525978"/>
                          <a:pt x="10972800" y="713131"/>
                        </a:cubicBezTo>
                        <a:cubicBezTo>
                          <a:pt x="10963262" y="900284"/>
                          <a:pt x="10991188" y="1090815"/>
                          <a:pt x="10972800" y="1207318"/>
                        </a:cubicBezTo>
                        <a:cubicBezTo>
                          <a:pt x="10954412" y="1323821"/>
                          <a:pt x="10958414" y="1578583"/>
                          <a:pt x="10972800" y="1789083"/>
                        </a:cubicBezTo>
                        <a:cubicBezTo>
                          <a:pt x="10987186" y="1999583"/>
                          <a:pt x="10966420" y="2313662"/>
                          <a:pt x="10972800" y="2502214"/>
                        </a:cubicBezTo>
                        <a:cubicBezTo>
                          <a:pt x="10979180" y="2690766"/>
                          <a:pt x="10956996" y="2845139"/>
                          <a:pt x="10972800" y="3083979"/>
                        </a:cubicBezTo>
                        <a:cubicBezTo>
                          <a:pt x="10988604" y="3322820"/>
                          <a:pt x="10944671" y="3404982"/>
                          <a:pt x="10972800" y="3709533"/>
                        </a:cubicBezTo>
                        <a:cubicBezTo>
                          <a:pt x="11000929" y="4014084"/>
                          <a:pt x="10990699" y="4202481"/>
                          <a:pt x="10972800" y="4378875"/>
                        </a:cubicBezTo>
                        <a:cubicBezTo>
                          <a:pt x="10797248" y="4396122"/>
                          <a:pt x="10523773" y="4348886"/>
                          <a:pt x="10287000" y="4378875"/>
                        </a:cubicBezTo>
                        <a:cubicBezTo>
                          <a:pt x="10050227" y="4408864"/>
                          <a:pt x="9566276" y="4361156"/>
                          <a:pt x="9381744" y="4378875"/>
                        </a:cubicBezTo>
                        <a:cubicBezTo>
                          <a:pt x="9197212" y="4396594"/>
                          <a:pt x="8806427" y="4339567"/>
                          <a:pt x="8586216" y="4378875"/>
                        </a:cubicBezTo>
                        <a:cubicBezTo>
                          <a:pt x="8366005" y="4418183"/>
                          <a:pt x="7931046" y="4353355"/>
                          <a:pt x="7680960" y="4378875"/>
                        </a:cubicBezTo>
                        <a:cubicBezTo>
                          <a:pt x="7430874" y="4404395"/>
                          <a:pt x="7146898" y="4356698"/>
                          <a:pt x="6995160" y="4378875"/>
                        </a:cubicBezTo>
                        <a:cubicBezTo>
                          <a:pt x="6843422" y="4401052"/>
                          <a:pt x="6555206" y="4353414"/>
                          <a:pt x="6309360" y="4378875"/>
                        </a:cubicBezTo>
                        <a:cubicBezTo>
                          <a:pt x="6063514" y="4404336"/>
                          <a:pt x="5764726" y="4381909"/>
                          <a:pt x="5623560" y="4378875"/>
                        </a:cubicBezTo>
                        <a:cubicBezTo>
                          <a:pt x="5482394" y="4375841"/>
                          <a:pt x="5230143" y="4405743"/>
                          <a:pt x="5047488" y="4378875"/>
                        </a:cubicBezTo>
                        <a:cubicBezTo>
                          <a:pt x="4864833" y="4352007"/>
                          <a:pt x="4617952" y="4371906"/>
                          <a:pt x="4361688" y="4378875"/>
                        </a:cubicBezTo>
                        <a:cubicBezTo>
                          <a:pt x="4105424" y="4385844"/>
                          <a:pt x="3821108" y="4368695"/>
                          <a:pt x="3456432" y="4378875"/>
                        </a:cubicBezTo>
                        <a:cubicBezTo>
                          <a:pt x="3091756" y="4389055"/>
                          <a:pt x="2882162" y="4389760"/>
                          <a:pt x="2660904" y="4378875"/>
                        </a:cubicBezTo>
                        <a:cubicBezTo>
                          <a:pt x="2439646" y="4367990"/>
                          <a:pt x="2329569" y="4384520"/>
                          <a:pt x="2084832" y="4378875"/>
                        </a:cubicBezTo>
                        <a:cubicBezTo>
                          <a:pt x="1840095" y="4373230"/>
                          <a:pt x="1888083" y="4388551"/>
                          <a:pt x="1728216" y="4378875"/>
                        </a:cubicBezTo>
                        <a:cubicBezTo>
                          <a:pt x="1568349" y="4369199"/>
                          <a:pt x="1115765" y="4384527"/>
                          <a:pt x="932688" y="4378875"/>
                        </a:cubicBezTo>
                        <a:cubicBezTo>
                          <a:pt x="749611" y="4373223"/>
                          <a:pt x="242609" y="4333184"/>
                          <a:pt x="0" y="4378875"/>
                        </a:cubicBezTo>
                        <a:cubicBezTo>
                          <a:pt x="14542" y="4093206"/>
                          <a:pt x="26347" y="4081713"/>
                          <a:pt x="0" y="3797110"/>
                        </a:cubicBezTo>
                        <a:cubicBezTo>
                          <a:pt x="-26347" y="3512507"/>
                          <a:pt x="-14510" y="3502647"/>
                          <a:pt x="0" y="3259134"/>
                        </a:cubicBezTo>
                        <a:cubicBezTo>
                          <a:pt x="14510" y="3015621"/>
                          <a:pt x="-1107" y="2764124"/>
                          <a:pt x="0" y="2633581"/>
                        </a:cubicBezTo>
                        <a:cubicBezTo>
                          <a:pt x="1107" y="2503038"/>
                          <a:pt x="24112" y="2190433"/>
                          <a:pt x="0" y="1920449"/>
                        </a:cubicBezTo>
                        <a:cubicBezTo>
                          <a:pt x="-24112" y="1650465"/>
                          <a:pt x="9956" y="1402014"/>
                          <a:pt x="0" y="1207318"/>
                        </a:cubicBezTo>
                        <a:cubicBezTo>
                          <a:pt x="-9956" y="1012622"/>
                          <a:pt x="21699" y="959248"/>
                          <a:pt x="0" y="713131"/>
                        </a:cubicBezTo>
                        <a:cubicBezTo>
                          <a:pt x="-21699" y="467014"/>
                          <a:pt x="-30867" y="308778"/>
                          <a:pt x="0" y="0"/>
                        </a:cubicBezTo>
                        <a:close/>
                      </a:path>
                      <a:path w="10972800" h="4378875" stroke="0" extrusionOk="0">
                        <a:moveTo>
                          <a:pt x="0" y="0"/>
                        </a:moveTo>
                        <a:cubicBezTo>
                          <a:pt x="218469" y="-22307"/>
                          <a:pt x="264316" y="-703"/>
                          <a:pt x="466344" y="0"/>
                        </a:cubicBezTo>
                        <a:cubicBezTo>
                          <a:pt x="668372" y="703"/>
                          <a:pt x="998674" y="-16252"/>
                          <a:pt x="1152144" y="0"/>
                        </a:cubicBezTo>
                        <a:cubicBezTo>
                          <a:pt x="1305614" y="16252"/>
                          <a:pt x="1365769" y="17157"/>
                          <a:pt x="1508760" y="0"/>
                        </a:cubicBezTo>
                        <a:cubicBezTo>
                          <a:pt x="1651751" y="-17157"/>
                          <a:pt x="1793655" y="14411"/>
                          <a:pt x="1975104" y="0"/>
                        </a:cubicBezTo>
                        <a:cubicBezTo>
                          <a:pt x="2156553" y="-14411"/>
                          <a:pt x="2474495" y="-3109"/>
                          <a:pt x="2660904" y="0"/>
                        </a:cubicBezTo>
                        <a:cubicBezTo>
                          <a:pt x="2847313" y="3109"/>
                          <a:pt x="2936166" y="-12229"/>
                          <a:pt x="3017520" y="0"/>
                        </a:cubicBezTo>
                        <a:cubicBezTo>
                          <a:pt x="3098874" y="12229"/>
                          <a:pt x="3634163" y="34471"/>
                          <a:pt x="3922776" y="0"/>
                        </a:cubicBezTo>
                        <a:cubicBezTo>
                          <a:pt x="4211389" y="-34471"/>
                          <a:pt x="4264157" y="-23250"/>
                          <a:pt x="4498848" y="0"/>
                        </a:cubicBezTo>
                        <a:cubicBezTo>
                          <a:pt x="4733539" y="23250"/>
                          <a:pt x="4867602" y="8329"/>
                          <a:pt x="5074920" y="0"/>
                        </a:cubicBezTo>
                        <a:cubicBezTo>
                          <a:pt x="5282238" y="-8329"/>
                          <a:pt x="5290522" y="-9026"/>
                          <a:pt x="5431536" y="0"/>
                        </a:cubicBezTo>
                        <a:cubicBezTo>
                          <a:pt x="5572550" y="9026"/>
                          <a:pt x="5685761" y="-16613"/>
                          <a:pt x="5788152" y="0"/>
                        </a:cubicBezTo>
                        <a:cubicBezTo>
                          <a:pt x="5890543" y="16613"/>
                          <a:pt x="6280016" y="14587"/>
                          <a:pt x="6473952" y="0"/>
                        </a:cubicBezTo>
                        <a:cubicBezTo>
                          <a:pt x="6667888" y="-14587"/>
                          <a:pt x="6671647" y="15304"/>
                          <a:pt x="6830568" y="0"/>
                        </a:cubicBezTo>
                        <a:cubicBezTo>
                          <a:pt x="6989489" y="-15304"/>
                          <a:pt x="7351862" y="11395"/>
                          <a:pt x="7516368" y="0"/>
                        </a:cubicBezTo>
                        <a:cubicBezTo>
                          <a:pt x="7680874" y="-11395"/>
                          <a:pt x="8060311" y="1721"/>
                          <a:pt x="8202168" y="0"/>
                        </a:cubicBezTo>
                        <a:cubicBezTo>
                          <a:pt x="8344025" y="-1721"/>
                          <a:pt x="8498290" y="19329"/>
                          <a:pt x="8778240" y="0"/>
                        </a:cubicBezTo>
                        <a:cubicBezTo>
                          <a:pt x="9058190" y="-19329"/>
                          <a:pt x="9229201" y="5851"/>
                          <a:pt x="9464040" y="0"/>
                        </a:cubicBezTo>
                        <a:cubicBezTo>
                          <a:pt x="9698879" y="-5851"/>
                          <a:pt x="9898030" y="-5907"/>
                          <a:pt x="10259568" y="0"/>
                        </a:cubicBezTo>
                        <a:cubicBezTo>
                          <a:pt x="10621106" y="5907"/>
                          <a:pt x="10731862" y="-10973"/>
                          <a:pt x="10972800" y="0"/>
                        </a:cubicBezTo>
                        <a:cubicBezTo>
                          <a:pt x="10965227" y="186621"/>
                          <a:pt x="10957051" y="414981"/>
                          <a:pt x="10972800" y="581765"/>
                        </a:cubicBezTo>
                        <a:cubicBezTo>
                          <a:pt x="10988549" y="748549"/>
                          <a:pt x="10988922" y="1101974"/>
                          <a:pt x="10972800" y="1294896"/>
                        </a:cubicBezTo>
                        <a:cubicBezTo>
                          <a:pt x="10956678" y="1487818"/>
                          <a:pt x="10993877" y="1745571"/>
                          <a:pt x="10972800" y="1920449"/>
                        </a:cubicBezTo>
                        <a:cubicBezTo>
                          <a:pt x="10951723" y="2095327"/>
                          <a:pt x="10969016" y="2278564"/>
                          <a:pt x="10972800" y="2414637"/>
                        </a:cubicBezTo>
                        <a:cubicBezTo>
                          <a:pt x="10976584" y="2550710"/>
                          <a:pt x="10975948" y="2878954"/>
                          <a:pt x="10972800" y="3083979"/>
                        </a:cubicBezTo>
                        <a:cubicBezTo>
                          <a:pt x="10969652" y="3289004"/>
                          <a:pt x="10965368" y="3349702"/>
                          <a:pt x="10972800" y="3578166"/>
                        </a:cubicBezTo>
                        <a:cubicBezTo>
                          <a:pt x="10980232" y="3806630"/>
                          <a:pt x="11005576" y="4154766"/>
                          <a:pt x="10972800" y="4378875"/>
                        </a:cubicBezTo>
                        <a:cubicBezTo>
                          <a:pt x="10843180" y="4353670"/>
                          <a:pt x="10684421" y="4363837"/>
                          <a:pt x="10396728" y="4378875"/>
                        </a:cubicBezTo>
                        <a:cubicBezTo>
                          <a:pt x="10109035" y="4393913"/>
                          <a:pt x="10146162" y="4384014"/>
                          <a:pt x="9930384" y="4378875"/>
                        </a:cubicBezTo>
                        <a:cubicBezTo>
                          <a:pt x="9714606" y="4373736"/>
                          <a:pt x="9296717" y="4374586"/>
                          <a:pt x="9134856" y="4378875"/>
                        </a:cubicBezTo>
                        <a:cubicBezTo>
                          <a:pt x="8972995" y="4383164"/>
                          <a:pt x="8816453" y="4377311"/>
                          <a:pt x="8668512" y="4378875"/>
                        </a:cubicBezTo>
                        <a:cubicBezTo>
                          <a:pt x="8520571" y="4380439"/>
                          <a:pt x="8306144" y="4384161"/>
                          <a:pt x="8092440" y="4378875"/>
                        </a:cubicBezTo>
                        <a:cubicBezTo>
                          <a:pt x="7878736" y="4373589"/>
                          <a:pt x="7460945" y="4371330"/>
                          <a:pt x="7296912" y="4378875"/>
                        </a:cubicBezTo>
                        <a:cubicBezTo>
                          <a:pt x="7132879" y="4386420"/>
                          <a:pt x="6914074" y="4405418"/>
                          <a:pt x="6611112" y="4378875"/>
                        </a:cubicBezTo>
                        <a:cubicBezTo>
                          <a:pt x="6308150" y="4352332"/>
                          <a:pt x="6172651" y="4416686"/>
                          <a:pt x="5815584" y="4378875"/>
                        </a:cubicBezTo>
                        <a:cubicBezTo>
                          <a:pt x="5458517" y="4341064"/>
                          <a:pt x="5319213" y="4345749"/>
                          <a:pt x="5129784" y="4378875"/>
                        </a:cubicBezTo>
                        <a:cubicBezTo>
                          <a:pt x="4940355" y="4412001"/>
                          <a:pt x="4846163" y="4393772"/>
                          <a:pt x="4773168" y="4378875"/>
                        </a:cubicBezTo>
                        <a:cubicBezTo>
                          <a:pt x="4700173" y="4363978"/>
                          <a:pt x="4108882" y="4354155"/>
                          <a:pt x="3867912" y="4378875"/>
                        </a:cubicBezTo>
                        <a:cubicBezTo>
                          <a:pt x="3626942" y="4403595"/>
                          <a:pt x="3362246" y="4409765"/>
                          <a:pt x="3182112" y="4378875"/>
                        </a:cubicBezTo>
                        <a:cubicBezTo>
                          <a:pt x="3001978" y="4347985"/>
                          <a:pt x="2773865" y="4372177"/>
                          <a:pt x="2386584" y="4378875"/>
                        </a:cubicBezTo>
                        <a:cubicBezTo>
                          <a:pt x="1999303" y="4385573"/>
                          <a:pt x="2041328" y="4411895"/>
                          <a:pt x="1700784" y="4378875"/>
                        </a:cubicBezTo>
                        <a:cubicBezTo>
                          <a:pt x="1360240" y="4345855"/>
                          <a:pt x="1301251" y="4391561"/>
                          <a:pt x="1124712" y="4378875"/>
                        </a:cubicBezTo>
                        <a:cubicBezTo>
                          <a:pt x="948173" y="4366189"/>
                          <a:pt x="545221" y="4350429"/>
                          <a:pt x="0" y="4378875"/>
                        </a:cubicBezTo>
                        <a:cubicBezTo>
                          <a:pt x="9127" y="4141452"/>
                          <a:pt x="-531" y="4084300"/>
                          <a:pt x="0" y="3840899"/>
                        </a:cubicBezTo>
                        <a:cubicBezTo>
                          <a:pt x="531" y="3597498"/>
                          <a:pt x="-19081" y="3480487"/>
                          <a:pt x="0" y="3302923"/>
                        </a:cubicBezTo>
                        <a:cubicBezTo>
                          <a:pt x="19081" y="3125359"/>
                          <a:pt x="-13078" y="2771020"/>
                          <a:pt x="0" y="2633581"/>
                        </a:cubicBezTo>
                        <a:cubicBezTo>
                          <a:pt x="13078" y="2496142"/>
                          <a:pt x="-22558" y="2291002"/>
                          <a:pt x="0" y="2139393"/>
                        </a:cubicBezTo>
                        <a:cubicBezTo>
                          <a:pt x="22558" y="1987784"/>
                          <a:pt x="2944" y="1743334"/>
                          <a:pt x="0" y="1601417"/>
                        </a:cubicBezTo>
                        <a:cubicBezTo>
                          <a:pt x="-2944" y="1459500"/>
                          <a:pt x="19765" y="1286752"/>
                          <a:pt x="0" y="1063441"/>
                        </a:cubicBezTo>
                        <a:cubicBezTo>
                          <a:pt x="-19765" y="840130"/>
                          <a:pt x="32274" y="486450"/>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400" i="1" dirty="0">
                <a:solidFill>
                  <a:schemeClr val="bg1">
                    <a:lumMod val="75000"/>
                  </a:schemeClr>
                </a:solidFill>
                <a:latin typeface="Verdana" panose="020B0604030504040204" pitchFamily="34" charset="0"/>
                <a:ea typeface="Verdana" panose="020B0604030504040204" pitchFamily="34" charset="0"/>
              </a:rPr>
              <a:t>Indsæt et screenshot fra datavarehuset af organisationens nøgletal. </a:t>
            </a:r>
            <a:br>
              <a:rPr lang="da-DK" sz="1400" i="1" dirty="0">
                <a:solidFill>
                  <a:schemeClr val="bg1">
                    <a:lumMod val="75000"/>
                  </a:schemeClr>
                </a:solidFill>
                <a:latin typeface="Verdana" panose="020B0604030504040204" pitchFamily="34" charset="0"/>
                <a:ea typeface="Verdana" panose="020B0604030504040204" pitchFamily="34" charset="0"/>
              </a:rPr>
            </a:br>
            <a:r>
              <a:rPr lang="da-DK" sz="1400" i="1" dirty="0">
                <a:solidFill>
                  <a:schemeClr val="bg1">
                    <a:lumMod val="75000"/>
                  </a:schemeClr>
                </a:solidFill>
                <a:latin typeface="Verdana" panose="020B0604030504040204" pitchFamily="34" charset="0"/>
                <a:ea typeface="Verdana" panose="020B0604030504040204" pitchFamily="34" charset="0"/>
              </a:rPr>
              <a:t>Find en guide til, hvordan du henter dine ESG nøgletal via </a:t>
            </a:r>
            <a:r>
              <a:rPr lang="da-DK" sz="1400" i="1" dirty="0" err="1">
                <a:solidFill>
                  <a:schemeClr val="bg1">
                    <a:lumMod val="75000"/>
                  </a:schemeClr>
                </a:solidFill>
                <a:latin typeface="Verdana" panose="020B0604030504040204" pitchFamily="34" charset="0"/>
                <a:ea typeface="Verdana" panose="020B0604030504040204" pitchFamily="34" charset="0"/>
              </a:rPr>
              <a:t>AlmenKompas</a:t>
            </a:r>
            <a:r>
              <a:rPr lang="da-DK" sz="1400" i="1" dirty="0">
                <a:solidFill>
                  <a:schemeClr val="bg1">
                    <a:lumMod val="75000"/>
                  </a:schemeClr>
                </a:solidFill>
                <a:latin typeface="Verdana" panose="020B0604030504040204" pitchFamily="34" charset="0"/>
                <a:ea typeface="Verdana" panose="020B0604030504040204" pitchFamily="34" charset="0"/>
              </a:rPr>
              <a:t> hjemmesiden.</a:t>
            </a:r>
            <a:endParaRPr lang="da-DK" sz="1400" i="1" dirty="0">
              <a:solidFill>
                <a:schemeClr val="bg1">
                  <a:lumMod val="75000"/>
                </a:schemeClr>
              </a:solidFill>
              <a:highlight>
                <a:srgbClr val="FFFF00"/>
              </a:highlight>
              <a:latin typeface="Verdana" panose="020B0604030504040204" pitchFamily="34" charset="0"/>
              <a:ea typeface="Verdana" panose="020B0604030504040204" pitchFamily="34" charset="0"/>
            </a:endParaRPr>
          </a:p>
        </p:txBody>
      </p:sp>
      <p:sp>
        <p:nvSpPr>
          <p:cNvPr id="3" name="Title 1">
            <a:extLst>
              <a:ext uri="{FF2B5EF4-FFF2-40B4-BE49-F238E27FC236}">
                <a16:creationId xmlns:a16="http://schemas.microsoft.com/office/drawing/2014/main" id="{2D73D3DC-0D1F-A862-6326-F9A9F54ED77E}"/>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ESG-nøgletal på organisationsniveau</a:t>
            </a:r>
          </a:p>
        </p:txBody>
      </p:sp>
    </p:spTree>
    <p:extLst>
      <p:ext uri="{BB962C8B-B14F-4D97-AF65-F5344CB8AC3E}">
        <p14:creationId xmlns:p14="http://schemas.microsoft.com/office/powerpoint/2010/main" val="7510891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4EB71-325C-FCC8-3E54-6AF1756C12C0}"/>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4D91523D-05A8-F6FA-EEFF-8810FB1EEC59}"/>
              </a:ext>
            </a:extLst>
          </p:cNvPr>
          <p:cNvSpPr/>
          <p:nvPr/>
        </p:nvSpPr>
        <p:spPr>
          <a:xfrm>
            <a:off x="5176911" y="0"/>
            <a:ext cx="7015088" cy="6858000"/>
          </a:xfrm>
          <a:prstGeom prst="rect">
            <a:avLst/>
          </a:prstGeom>
          <a:solidFill>
            <a:srgbClr val="F0F5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Rectangle: Rounded Corners 3">
            <a:extLst>
              <a:ext uri="{FF2B5EF4-FFF2-40B4-BE49-F238E27FC236}">
                <a16:creationId xmlns:a16="http://schemas.microsoft.com/office/drawing/2014/main" id="{7A91334B-37B1-FED4-436E-812F08244327}"/>
              </a:ext>
            </a:extLst>
          </p:cNvPr>
          <p:cNvSpPr/>
          <p:nvPr/>
        </p:nvSpPr>
        <p:spPr>
          <a:xfrm>
            <a:off x="6109443" y="1477781"/>
            <a:ext cx="5088037" cy="4082300"/>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088037"/>
                      <a:gd name="connsiteY0" fmla="*/ 0 h 4082300"/>
                      <a:gd name="connsiteX1" fmla="*/ 0 w 5088037"/>
                      <a:gd name="connsiteY1" fmla="*/ 0 h 4082300"/>
                      <a:gd name="connsiteX2" fmla="*/ 737765 w 5088037"/>
                      <a:gd name="connsiteY2" fmla="*/ 0 h 4082300"/>
                      <a:gd name="connsiteX3" fmla="*/ 1475531 w 5088037"/>
                      <a:gd name="connsiteY3" fmla="*/ 0 h 4082300"/>
                      <a:gd name="connsiteX4" fmla="*/ 2111535 w 5088037"/>
                      <a:gd name="connsiteY4" fmla="*/ 0 h 4082300"/>
                      <a:gd name="connsiteX5" fmla="*/ 2798420 w 5088037"/>
                      <a:gd name="connsiteY5" fmla="*/ 0 h 4082300"/>
                      <a:gd name="connsiteX6" fmla="*/ 3383545 w 5088037"/>
                      <a:gd name="connsiteY6" fmla="*/ 0 h 4082300"/>
                      <a:gd name="connsiteX7" fmla="*/ 4019549 w 5088037"/>
                      <a:gd name="connsiteY7" fmla="*/ 0 h 4082300"/>
                      <a:gd name="connsiteX8" fmla="*/ 5088037 w 5088037"/>
                      <a:gd name="connsiteY8" fmla="*/ 0 h 4082300"/>
                      <a:gd name="connsiteX9" fmla="*/ 5088037 w 5088037"/>
                      <a:gd name="connsiteY9" fmla="*/ 0 h 4082300"/>
                      <a:gd name="connsiteX10" fmla="*/ 5088037 w 5088037"/>
                      <a:gd name="connsiteY10" fmla="*/ 598737 h 4082300"/>
                      <a:gd name="connsiteX11" fmla="*/ 5088037 w 5088037"/>
                      <a:gd name="connsiteY11" fmla="*/ 1156652 h 4082300"/>
                      <a:gd name="connsiteX12" fmla="*/ 5088037 w 5088037"/>
                      <a:gd name="connsiteY12" fmla="*/ 1755389 h 4082300"/>
                      <a:gd name="connsiteX13" fmla="*/ 5088037 w 5088037"/>
                      <a:gd name="connsiteY13" fmla="*/ 2394949 h 4082300"/>
                      <a:gd name="connsiteX14" fmla="*/ 5088037 w 5088037"/>
                      <a:gd name="connsiteY14" fmla="*/ 3075333 h 4082300"/>
                      <a:gd name="connsiteX15" fmla="*/ 5088037 w 5088037"/>
                      <a:gd name="connsiteY15" fmla="*/ 4082300 h 4082300"/>
                      <a:gd name="connsiteX16" fmla="*/ 5088037 w 5088037"/>
                      <a:gd name="connsiteY16" fmla="*/ 4082300 h 4082300"/>
                      <a:gd name="connsiteX17" fmla="*/ 4350272 w 5088037"/>
                      <a:gd name="connsiteY17" fmla="*/ 4082300 h 4082300"/>
                      <a:gd name="connsiteX18" fmla="*/ 3714267 w 5088037"/>
                      <a:gd name="connsiteY18" fmla="*/ 4082300 h 4082300"/>
                      <a:gd name="connsiteX19" fmla="*/ 3078262 w 5088037"/>
                      <a:gd name="connsiteY19" fmla="*/ 4082300 h 4082300"/>
                      <a:gd name="connsiteX20" fmla="*/ 2442258 w 5088037"/>
                      <a:gd name="connsiteY20" fmla="*/ 4082300 h 4082300"/>
                      <a:gd name="connsiteX21" fmla="*/ 1806253 w 5088037"/>
                      <a:gd name="connsiteY21" fmla="*/ 4082300 h 4082300"/>
                      <a:gd name="connsiteX22" fmla="*/ 1221129 w 5088037"/>
                      <a:gd name="connsiteY22" fmla="*/ 4082300 h 4082300"/>
                      <a:gd name="connsiteX23" fmla="*/ 0 w 5088037"/>
                      <a:gd name="connsiteY23" fmla="*/ 4082300 h 4082300"/>
                      <a:gd name="connsiteX24" fmla="*/ 0 w 5088037"/>
                      <a:gd name="connsiteY24" fmla="*/ 4082300 h 4082300"/>
                      <a:gd name="connsiteX25" fmla="*/ 0 w 5088037"/>
                      <a:gd name="connsiteY25" fmla="*/ 3401917 h 4082300"/>
                      <a:gd name="connsiteX26" fmla="*/ 0 w 5088037"/>
                      <a:gd name="connsiteY26" fmla="*/ 2680710 h 4082300"/>
                      <a:gd name="connsiteX27" fmla="*/ 0 w 5088037"/>
                      <a:gd name="connsiteY27" fmla="*/ 1959504 h 4082300"/>
                      <a:gd name="connsiteX28" fmla="*/ 0 w 5088037"/>
                      <a:gd name="connsiteY28" fmla="*/ 1197475 h 4082300"/>
                      <a:gd name="connsiteX29" fmla="*/ 0 w 5088037"/>
                      <a:gd name="connsiteY29" fmla="*/ 0 h 408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88037" h="4082300" fill="none" extrusionOk="0">
                        <a:moveTo>
                          <a:pt x="0" y="0"/>
                        </a:moveTo>
                        <a:lnTo>
                          <a:pt x="0" y="0"/>
                        </a:lnTo>
                        <a:cubicBezTo>
                          <a:pt x="236196" y="19969"/>
                          <a:pt x="415065" y="10813"/>
                          <a:pt x="737765" y="0"/>
                        </a:cubicBezTo>
                        <a:cubicBezTo>
                          <a:pt x="1060465" y="-10813"/>
                          <a:pt x="1316190" y="36201"/>
                          <a:pt x="1475531" y="0"/>
                        </a:cubicBezTo>
                        <a:cubicBezTo>
                          <a:pt x="1634872" y="-36201"/>
                          <a:pt x="1912742" y="-12856"/>
                          <a:pt x="2111535" y="0"/>
                        </a:cubicBezTo>
                        <a:cubicBezTo>
                          <a:pt x="2310328" y="12856"/>
                          <a:pt x="2625329" y="-18953"/>
                          <a:pt x="2798420" y="0"/>
                        </a:cubicBezTo>
                        <a:cubicBezTo>
                          <a:pt x="2971512" y="18953"/>
                          <a:pt x="3250774" y="19301"/>
                          <a:pt x="3383545" y="0"/>
                        </a:cubicBezTo>
                        <a:cubicBezTo>
                          <a:pt x="3516317" y="-19301"/>
                          <a:pt x="3713651" y="31009"/>
                          <a:pt x="4019549" y="0"/>
                        </a:cubicBezTo>
                        <a:cubicBezTo>
                          <a:pt x="4325447" y="-31009"/>
                          <a:pt x="4608271" y="-35241"/>
                          <a:pt x="5088037" y="0"/>
                        </a:cubicBezTo>
                        <a:lnTo>
                          <a:pt x="5088037" y="0"/>
                        </a:lnTo>
                        <a:cubicBezTo>
                          <a:pt x="5109561" y="265616"/>
                          <a:pt x="5091895" y="342911"/>
                          <a:pt x="5088037" y="598737"/>
                        </a:cubicBezTo>
                        <a:cubicBezTo>
                          <a:pt x="5084179" y="854563"/>
                          <a:pt x="5090009" y="989816"/>
                          <a:pt x="5088037" y="1156652"/>
                        </a:cubicBezTo>
                        <a:cubicBezTo>
                          <a:pt x="5086065" y="1323488"/>
                          <a:pt x="5082155" y="1496021"/>
                          <a:pt x="5088037" y="1755389"/>
                        </a:cubicBezTo>
                        <a:cubicBezTo>
                          <a:pt x="5093919" y="2014757"/>
                          <a:pt x="5117673" y="2165800"/>
                          <a:pt x="5088037" y="2394949"/>
                        </a:cubicBezTo>
                        <a:cubicBezTo>
                          <a:pt x="5058401" y="2624098"/>
                          <a:pt x="5113875" y="2867592"/>
                          <a:pt x="5088037" y="3075333"/>
                        </a:cubicBezTo>
                        <a:cubicBezTo>
                          <a:pt x="5062199" y="3283074"/>
                          <a:pt x="5100418" y="3765515"/>
                          <a:pt x="5088037" y="4082300"/>
                        </a:cubicBezTo>
                        <a:lnTo>
                          <a:pt x="5088037" y="4082300"/>
                        </a:lnTo>
                        <a:cubicBezTo>
                          <a:pt x="4726991" y="4114099"/>
                          <a:pt x="4539045" y="4055755"/>
                          <a:pt x="4350272" y="4082300"/>
                        </a:cubicBezTo>
                        <a:cubicBezTo>
                          <a:pt x="4161499" y="4108845"/>
                          <a:pt x="3857271" y="4112499"/>
                          <a:pt x="3714267" y="4082300"/>
                        </a:cubicBezTo>
                        <a:cubicBezTo>
                          <a:pt x="3571263" y="4052101"/>
                          <a:pt x="3229982" y="4098565"/>
                          <a:pt x="3078262" y="4082300"/>
                        </a:cubicBezTo>
                        <a:cubicBezTo>
                          <a:pt x="2926542" y="4066035"/>
                          <a:pt x="2719145" y="4091481"/>
                          <a:pt x="2442258" y="4082300"/>
                        </a:cubicBezTo>
                        <a:cubicBezTo>
                          <a:pt x="2165371" y="4073119"/>
                          <a:pt x="1974251" y="4071287"/>
                          <a:pt x="1806253" y="4082300"/>
                        </a:cubicBezTo>
                        <a:cubicBezTo>
                          <a:pt x="1638255" y="4093313"/>
                          <a:pt x="1359635" y="4089881"/>
                          <a:pt x="1221129" y="4082300"/>
                        </a:cubicBezTo>
                        <a:cubicBezTo>
                          <a:pt x="1082623" y="4074719"/>
                          <a:pt x="281583" y="4080367"/>
                          <a:pt x="0" y="4082300"/>
                        </a:cubicBezTo>
                        <a:lnTo>
                          <a:pt x="0" y="4082300"/>
                        </a:lnTo>
                        <a:cubicBezTo>
                          <a:pt x="-13218" y="3817645"/>
                          <a:pt x="17582" y="3555119"/>
                          <a:pt x="0" y="3401917"/>
                        </a:cubicBezTo>
                        <a:cubicBezTo>
                          <a:pt x="-17582" y="3248715"/>
                          <a:pt x="33030" y="3029974"/>
                          <a:pt x="0" y="2680710"/>
                        </a:cubicBezTo>
                        <a:cubicBezTo>
                          <a:pt x="-33030" y="2331446"/>
                          <a:pt x="-6867" y="2172266"/>
                          <a:pt x="0" y="1959504"/>
                        </a:cubicBezTo>
                        <a:cubicBezTo>
                          <a:pt x="6867" y="1746742"/>
                          <a:pt x="-15539" y="1513558"/>
                          <a:pt x="0" y="1197475"/>
                        </a:cubicBezTo>
                        <a:cubicBezTo>
                          <a:pt x="15539" y="881392"/>
                          <a:pt x="56152" y="487678"/>
                          <a:pt x="0" y="0"/>
                        </a:cubicBezTo>
                        <a:close/>
                      </a:path>
                      <a:path w="5088037" h="4082300" stroke="0" extrusionOk="0">
                        <a:moveTo>
                          <a:pt x="0" y="0"/>
                        </a:moveTo>
                        <a:lnTo>
                          <a:pt x="0" y="0"/>
                        </a:lnTo>
                        <a:cubicBezTo>
                          <a:pt x="140144" y="-2467"/>
                          <a:pt x="351908" y="24596"/>
                          <a:pt x="585124" y="0"/>
                        </a:cubicBezTo>
                        <a:cubicBezTo>
                          <a:pt x="818340" y="-24596"/>
                          <a:pt x="880204" y="8176"/>
                          <a:pt x="1068488" y="0"/>
                        </a:cubicBezTo>
                        <a:cubicBezTo>
                          <a:pt x="1256772" y="-8176"/>
                          <a:pt x="1652363" y="24109"/>
                          <a:pt x="1806253" y="0"/>
                        </a:cubicBezTo>
                        <a:cubicBezTo>
                          <a:pt x="1960143" y="-24109"/>
                          <a:pt x="2230416" y="11300"/>
                          <a:pt x="2391377" y="0"/>
                        </a:cubicBezTo>
                        <a:cubicBezTo>
                          <a:pt x="2552338" y="-11300"/>
                          <a:pt x="2778467" y="-18926"/>
                          <a:pt x="2976502" y="0"/>
                        </a:cubicBezTo>
                        <a:cubicBezTo>
                          <a:pt x="3174538" y="18926"/>
                          <a:pt x="3523854" y="-6994"/>
                          <a:pt x="3714267" y="0"/>
                        </a:cubicBezTo>
                        <a:cubicBezTo>
                          <a:pt x="3904681" y="6994"/>
                          <a:pt x="4105057" y="1849"/>
                          <a:pt x="4248511" y="0"/>
                        </a:cubicBezTo>
                        <a:cubicBezTo>
                          <a:pt x="4391965" y="-1849"/>
                          <a:pt x="4876767" y="-38700"/>
                          <a:pt x="5088037" y="0"/>
                        </a:cubicBezTo>
                        <a:lnTo>
                          <a:pt x="5088037" y="0"/>
                        </a:lnTo>
                        <a:cubicBezTo>
                          <a:pt x="5104057" y="277737"/>
                          <a:pt x="5076031" y="596395"/>
                          <a:pt x="5088037" y="762029"/>
                        </a:cubicBezTo>
                        <a:cubicBezTo>
                          <a:pt x="5100043" y="927663"/>
                          <a:pt x="5096696" y="1190689"/>
                          <a:pt x="5088037" y="1360767"/>
                        </a:cubicBezTo>
                        <a:cubicBezTo>
                          <a:pt x="5079378" y="1530845"/>
                          <a:pt x="5111204" y="1750594"/>
                          <a:pt x="5088037" y="2041150"/>
                        </a:cubicBezTo>
                        <a:cubicBezTo>
                          <a:pt x="5064870" y="2331706"/>
                          <a:pt x="5109907" y="2589457"/>
                          <a:pt x="5088037" y="2762356"/>
                        </a:cubicBezTo>
                        <a:cubicBezTo>
                          <a:pt x="5066167" y="2935255"/>
                          <a:pt x="5068440" y="3053935"/>
                          <a:pt x="5088037" y="3320271"/>
                        </a:cubicBezTo>
                        <a:cubicBezTo>
                          <a:pt x="5107634" y="3586608"/>
                          <a:pt x="5079979" y="3887958"/>
                          <a:pt x="5088037" y="4082300"/>
                        </a:cubicBezTo>
                        <a:lnTo>
                          <a:pt x="5088037" y="4082300"/>
                        </a:lnTo>
                        <a:cubicBezTo>
                          <a:pt x="4834710" y="4113320"/>
                          <a:pt x="4646375" y="4083272"/>
                          <a:pt x="4452032" y="4082300"/>
                        </a:cubicBezTo>
                        <a:cubicBezTo>
                          <a:pt x="4257690" y="4081328"/>
                          <a:pt x="4130990" y="4074994"/>
                          <a:pt x="3816028" y="4082300"/>
                        </a:cubicBezTo>
                        <a:cubicBezTo>
                          <a:pt x="3501066" y="4089606"/>
                          <a:pt x="3381352" y="4065496"/>
                          <a:pt x="3078262" y="4082300"/>
                        </a:cubicBezTo>
                        <a:cubicBezTo>
                          <a:pt x="2775172" y="4099104"/>
                          <a:pt x="2679981" y="4099396"/>
                          <a:pt x="2442258" y="4082300"/>
                        </a:cubicBezTo>
                        <a:cubicBezTo>
                          <a:pt x="2204535" y="4065204"/>
                          <a:pt x="2196316" y="4104912"/>
                          <a:pt x="1958894" y="4082300"/>
                        </a:cubicBezTo>
                        <a:cubicBezTo>
                          <a:pt x="1721472" y="4059688"/>
                          <a:pt x="1656101" y="4077973"/>
                          <a:pt x="1424650" y="4082300"/>
                        </a:cubicBezTo>
                        <a:cubicBezTo>
                          <a:pt x="1193199" y="4086627"/>
                          <a:pt x="980831" y="4056452"/>
                          <a:pt x="686885" y="4082300"/>
                        </a:cubicBezTo>
                        <a:cubicBezTo>
                          <a:pt x="392939" y="4108148"/>
                          <a:pt x="298580" y="4073475"/>
                          <a:pt x="0" y="4082300"/>
                        </a:cubicBezTo>
                        <a:lnTo>
                          <a:pt x="0" y="4082300"/>
                        </a:lnTo>
                        <a:cubicBezTo>
                          <a:pt x="-499" y="3889950"/>
                          <a:pt x="15057" y="3650595"/>
                          <a:pt x="0" y="3483563"/>
                        </a:cubicBezTo>
                        <a:cubicBezTo>
                          <a:pt x="-15057" y="3316531"/>
                          <a:pt x="-3024" y="3093082"/>
                          <a:pt x="0" y="2844002"/>
                        </a:cubicBezTo>
                        <a:cubicBezTo>
                          <a:pt x="3024" y="2594922"/>
                          <a:pt x="21903" y="2542283"/>
                          <a:pt x="0" y="2286088"/>
                        </a:cubicBezTo>
                        <a:cubicBezTo>
                          <a:pt x="-21903" y="2029893"/>
                          <a:pt x="10377" y="1981723"/>
                          <a:pt x="0" y="1728174"/>
                        </a:cubicBezTo>
                        <a:cubicBezTo>
                          <a:pt x="-10377" y="1474625"/>
                          <a:pt x="14767" y="1343062"/>
                          <a:pt x="0" y="1006967"/>
                        </a:cubicBezTo>
                        <a:cubicBezTo>
                          <a:pt x="-14767" y="670872"/>
                          <a:pt x="-19727" y="397525"/>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dirty="0">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graphicFrame>
        <p:nvGraphicFramePr>
          <p:cNvPr id="6" name="think-cell data - do not delete" hidden="1">
            <a:extLst>
              <a:ext uri="{FF2B5EF4-FFF2-40B4-BE49-F238E27FC236}">
                <a16:creationId xmlns:a16="http://schemas.microsoft.com/office/drawing/2014/main" id="{6E22289B-D51A-5A01-6F62-95B0FBB7DA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6E22289B-D51A-5A01-6F62-95B0FBB7DA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E5B23F2-24A8-C3CE-2915-62344573BFB9}"/>
              </a:ext>
            </a:extLst>
          </p:cNvPr>
          <p:cNvSpPr>
            <a:spLocks noGrp="1"/>
          </p:cNvSpPr>
          <p:nvPr>
            <p:ph type="title"/>
          </p:nvPr>
        </p:nvSpPr>
        <p:spPr>
          <a:xfrm>
            <a:off x="578069" y="654269"/>
            <a:ext cx="10515600" cy="831467"/>
          </a:xfrm>
        </p:spPr>
        <p:txBody>
          <a:bodyPr vert="horz">
            <a:normAutofit/>
          </a:bodyPr>
          <a:lstStyle/>
          <a:p>
            <a:r>
              <a:rPr lang="da-DK" sz="4000" dirty="0">
                <a:solidFill>
                  <a:srgbClr val="005850"/>
                </a:solidFill>
                <a:latin typeface="Verdana" panose="020B0604030504040204" pitchFamily="34" charset="0"/>
                <a:ea typeface="Verdana" panose="020B0604030504040204" pitchFamily="34" charset="0"/>
              </a:rPr>
              <a:t>Indhold</a:t>
            </a:r>
          </a:p>
        </p:txBody>
      </p:sp>
      <p:sp>
        <p:nvSpPr>
          <p:cNvPr id="5" name="Pladsholder til slidenummer 4">
            <a:extLst>
              <a:ext uri="{FF2B5EF4-FFF2-40B4-BE49-F238E27FC236}">
                <a16:creationId xmlns:a16="http://schemas.microsoft.com/office/drawing/2014/main" id="{B9E735FB-DCCF-BF2F-A868-4BBDD696278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1">
            <a:extLst>
              <a:ext uri="{FF2B5EF4-FFF2-40B4-BE49-F238E27FC236}">
                <a16:creationId xmlns:a16="http://schemas.microsoft.com/office/drawing/2014/main" id="{613AD968-48B3-6B9B-5D0B-D8774BE7907D}"/>
              </a:ext>
            </a:extLst>
          </p:cNvPr>
          <p:cNvSpPr>
            <a:spLocks noChangeArrowheads="1"/>
          </p:cNvSpPr>
          <p:nvPr/>
        </p:nvSpPr>
        <p:spPr bwMode="auto">
          <a:xfrm>
            <a:off x="578068" y="1906453"/>
            <a:ext cx="4042197" cy="3167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spAutoFit/>
          </a:bodyPr>
          <a:lstStyle>
            <a:lvl1pPr eaLnBrk="0" fontAlgn="base" hangingPunct="0">
              <a:spcBef>
                <a:spcPct val="0"/>
              </a:spcBef>
              <a:spcAft>
                <a:spcPct val="0"/>
              </a:spcAft>
              <a:tabLst>
                <a:tab pos="6113463" algn="r"/>
              </a:tabLst>
              <a:defRPr>
                <a:solidFill>
                  <a:schemeClr val="tx1"/>
                </a:solidFill>
                <a:latin typeface="Arial" panose="020B0604020202020204" pitchFamily="34" charset="0"/>
              </a:defRPr>
            </a:lvl1pPr>
            <a:lvl2pPr eaLnBrk="0" fontAlgn="base" hangingPunct="0">
              <a:spcBef>
                <a:spcPct val="0"/>
              </a:spcBef>
              <a:spcAft>
                <a:spcPct val="0"/>
              </a:spcAft>
              <a:tabLst>
                <a:tab pos="6113463" algn="r"/>
              </a:tabLst>
              <a:defRPr>
                <a:solidFill>
                  <a:schemeClr val="tx1"/>
                </a:solidFill>
                <a:latin typeface="Arial" panose="020B0604020202020204" pitchFamily="34" charset="0"/>
              </a:defRPr>
            </a:lvl2pPr>
            <a:lvl3pPr eaLnBrk="0" fontAlgn="base" hangingPunct="0">
              <a:spcBef>
                <a:spcPct val="0"/>
              </a:spcBef>
              <a:spcAft>
                <a:spcPct val="0"/>
              </a:spcAft>
              <a:tabLst>
                <a:tab pos="6113463" algn="r"/>
              </a:tabLst>
              <a:defRPr>
                <a:solidFill>
                  <a:schemeClr val="tx1"/>
                </a:solidFill>
                <a:latin typeface="Arial" panose="020B0604020202020204" pitchFamily="34" charset="0"/>
              </a:defRPr>
            </a:lvl3pPr>
            <a:lvl4pPr eaLnBrk="0" fontAlgn="base" hangingPunct="0">
              <a:spcBef>
                <a:spcPct val="0"/>
              </a:spcBef>
              <a:spcAft>
                <a:spcPct val="0"/>
              </a:spcAft>
              <a:tabLst>
                <a:tab pos="6113463" algn="r"/>
              </a:tabLst>
              <a:defRPr>
                <a:solidFill>
                  <a:schemeClr val="tx1"/>
                </a:solidFill>
                <a:latin typeface="Arial" panose="020B0604020202020204" pitchFamily="34" charset="0"/>
              </a:defRPr>
            </a:lvl4pPr>
            <a:lvl5pPr eaLnBrk="0" fontAlgn="base" hangingPunct="0">
              <a:spcBef>
                <a:spcPct val="0"/>
              </a:spcBef>
              <a:spcAft>
                <a:spcPct val="0"/>
              </a:spcAft>
              <a:tabLst>
                <a:tab pos="6113463" algn="r"/>
              </a:tabLst>
              <a:defRPr>
                <a:solidFill>
                  <a:schemeClr val="tx1"/>
                </a:solidFill>
                <a:latin typeface="Arial" panose="020B0604020202020204" pitchFamily="34" charset="0"/>
              </a:defRPr>
            </a:lvl5pPr>
            <a:lvl6pPr eaLnBrk="0" fontAlgn="base" hangingPunct="0">
              <a:spcBef>
                <a:spcPct val="0"/>
              </a:spcBef>
              <a:spcAft>
                <a:spcPct val="0"/>
              </a:spcAft>
              <a:tabLst>
                <a:tab pos="6113463" algn="r"/>
              </a:tabLst>
              <a:defRPr>
                <a:solidFill>
                  <a:schemeClr val="tx1"/>
                </a:solidFill>
                <a:latin typeface="Arial" panose="020B0604020202020204" pitchFamily="34" charset="0"/>
              </a:defRPr>
            </a:lvl6pPr>
            <a:lvl7pPr eaLnBrk="0" fontAlgn="base" hangingPunct="0">
              <a:spcBef>
                <a:spcPct val="0"/>
              </a:spcBef>
              <a:spcAft>
                <a:spcPct val="0"/>
              </a:spcAft>
              <a:tabLst>
                <a:tab pos="6113463" algn="r"/>
              </a:tabLst>
              <a:defRPr>
                <a:solidFill>
                  <a:schemeClr val="tx1"/>
                </a:solidFill>
                <a:latin typeface="Arial" panose="020B0604020202020204" pitchFamily="34" charset="0"/>
              </a:defRPr>
            </a:lvl7pPr>
            <a:lvl8pPr eaLnBrk="0" fontAlgn="base" hangingPunct="0">
              <a:spcBef>
                <a:spcPct val="0"/>
              </a:spcBef>
              <a:spcAft>
                <a:spcPct val="0"/>
              </a:spcAft>
              <a:tabLst>
                <a:tab pos="6113463" algn="r"/>
              </a:tabLst>
              <a:defRPr>
                <a:solidFill>
                  <a:schemeClr val="tx1"/>
                </a:solidFill>
                <a:latin typeface="Arial" panose="020B0604020202020204" pitchFamily="34" charset="0"/>
              </a:defRPr>
            </a:lvl8pPr>
            <a:lvl9pPr eaLnBrk="0" fontAlgn="base" hangingPunct="0">
              <a:spcBef>
                <a:spcPct val="0"/>
              </a:spcBef>
              <a:spcAft>
                <a:spcPct val="0"/>
              </a:spcAft>
              <a:tabLst>
                <a:tab pos="6113463" algn="r"/>
              </a:tabLst>
              <a:defRPr>
                <a:solidFill>
                  <a:schemeClr val="tx1"/>
                </a:solidFill>
                <a:latin typeface="Arial" panose="020B0604020202020204" pitchFamily="34" charset="0"/>
              </a:defRPr>
            </a:lvl9pPr>
          </a:lstStyle>
          <a:p>
            <a:pPr>
              <a:lnSpc>
                <a:spcPct val="120000"/>
              </a:lnSpc>
            </a:pPr>
            <a:r>
              <a:rPr lang="da-DK" sz="1400" b="1" dirty="0">
                <a:solidFill>
                  <a:srgbClr val="005850"/>
                </a:solidFill>
                <a:latin typeface="Verdana" panose="020B0604030504040204" pitchFamily="34" charset="0"/>
                <a:ea typeface="Verdana" panose="020B0604030504040204" pitchFamily="34" charset="0"/>
                <a:cs typeface="Verdana" panose="020B0604030504040204" pitchFamily="34" charset="0"/>
              </a:rPr>
              <a:t>Forord</a:t>
            </a:r>
          </a:p>
          <a:p>
            <a:pPr lvl="0">
              <a:lnSpc>
                <a:spcPct val="120000"/>
              </a:lnSpc>
            </a:pPr>
            <a:endParaRPr lang="da-DK" sz="1400" dirty="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dirty="0">
                <a:solidFill>
                  <a:srgbClr val="005850"/>
                </a:solidFill>
                <a:latin typeface="Verdana" panose="020B0604030504040204" pitchFamily="34" charset="0"/>
                <a:ea typeface="Verdana" panose="020B0604030504040204" pitchFamily="34" charset="0"/>
                <a:cs typeface="Verdana" panose="020B0604030504040204" pitchFamily="34" charset="0"/>
              </a:rPr>
              <a:t>Om [boligorganisationens navn]</a:t>
            </a:r>
          </a:p>
          <a:p>
            <a:pPr lvl="0">
              <a:lnSpc>
                <a:spcPct val="120000"/>
              </a:lnSpc>
            </a:pPr>
            <a:endParaRPr lang="da-DK" sz="1400" dirty="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dirty="0">
                <a:solidFill>
                  <a:srgbClr val="005850"/>
                </a:solidFill>
                <a:latin typeface="Verdana" panose="020B0604030504040204" pitchFamily="34" charset="0"/>
                <a:ea typeface="Verdana" panose="020B0604030504040204" pitchFamily="34" charset="0"/>
                <a:cs typeface="Verdana" panose="020B0604030504040204" pitchFamily="34" charset="0"/>
              </a:rPr>
              <a:t>Vores ESG resultater &amp; målepunkter</a:t>
            </a:r>
          </a:p>
          <a:p>
            <a:pPr lvl="0">
              <a:lnSpc>
                <a:spcPct val="120000"/>
              </a:lnSpc>
            </a:pPr>
            <a:r>
              <a:rPr lang="da-DK" sz="1400" dirty="0">
                <a:solidFill>
                  <a:srgbClr val="005850"/>
                </a:solidFill>
                <a:latin typeface="Verdana" panose="020B0604030504040204" pitchFamily="34" charset="0"/>
                <a:ea typeface="Verdana" panose="020B0604030504040204" pitchFamily="34" charset="0"/>
                <a:cs typeface="Verdana" panose="020B0604030504040204" pitchFamily="34" charset="0"/>
              </a:rPr>
              <a:t>   </a:t>
            </a:r>
            <a:r>
              <a:rPr lang="da-DK" sz="1400" dirty="0">
                <a:latin typeface="Verdana" panose="020B0604030504040204" pitchFamily="34" charset="0"/>
                <a:ea typeface="Verdana" panose="020B0604030504040204" pitchFamily="34" charset="0"/>
                <a:cs typeface="Verdana" panose="020B0604030504040204" pitchFamily="34" charset="0"/>
              </a:rPr>
              <a:t>Miljø</a:t>
            </a:r>
          </a:p>
          <a:p>
            <a:pPr lvl="0">
              <a:lnSpc>
                <a:spcPct val="120000"/>
              </a:lnSpc>
            </a:pPr>
            <a:r>
              <a:rPr lang="da-DK" sz="1400" dirty="0">
                <a:latin typeface="Verdana" panose="020B0604030504040204" pitchFamily="34" charset="0"/>
                <a:ea typeface="Verdana" panose="020B0604030504040204" pitchFamily="34" charset="0"/>
                <a:cs typeface="Verdana" panose="020B0604030504040204" pitchFamily="34" charset="0"/>
              </a:rPr>
              <a:t>   Social</a:t>
            </a:r>
          </a:p>
          <a:p>
            <a:pPr lvl="0">
              <a:lnSpc>
                <a:spcPct val="120000"/>
              </a:lnSpc>
            </a:pPr>
            <a:r>
              <a:rPr lang="da-DK" sz="1400" dirty="0">
                <a:latin typeface="Verdana" panose="020B0604030504040204" pitchFamily="34" charset="0"/>
                <a:ea typeface="Verdana" panose="020B0604030504040204" pitchFamily="34" charset="0"/>
                <a:cs typeface="Verdana" panose="020B0604030504040204" pitchFamily="34" charset="0"/>
              </a:rPr>
              <a:t>   Governance</a:t>
            </a:r>
          </a:p>
          <a:p>
            <a:pPr lvl="0">
              <a:lnSpc>
                <a:spcPct val="120000"/>
              </a:lnSpc>
            </a:pPr>
            <a:endParaRPr lang="da-DK" sz="1400" dirty="0">
              <a:solidFill>
                <a:srgbClr val="005850"/>
              </a:solidFill>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dirty="0">
                <a:solidFill>
                  <a:srgbClr val="005850"/>
                </a:solidFill>
                <a:latin typeface="Verdana" panose="020B0604030504040204" pitchFamily="34" charset="0"/>
                <a:ea typeface="Verdana" panose="020B0604030504040204" pitchFamily="34" charset="0"/>
                <a:cs typeface="Verdana" panose="020B0604030504040204" pitchFamily="34" charset="0"/>
              </a:rPr>
              <a:t>Alle ESG-nøgletal</a:t>
            </a:r>
          </a:p>
          <a:p>
            <a:pPr lvl="0">
              <a:lnSpc>
                <a:spcPct val="120000"/>
              </a:lnSpc>
            </a:pPr>
            <a:r>
              <a:rPr lang="da-DK" sz="1400" dirty="0">
                <a:latin typeface="Verdana" panose="020B0604030504040204" pitchFamily="34" charset="0"/>
                <a:ea typeface="Verdana" panose="020B0604030504040204" pitchFamily="34" charset="0"/>
                <a:cs typeface="Verdana" panose="020B0604030504040204" pitchFamily="34" charset="0"/>
              </a:rPr>
              <a:t>    ESG-nøgletal</a:t>
            </a:r>
          </a:p>
          <a:p>
            <a:pPr lvl="0">
              <a:lnSpc>
                <a:spcPct val="120000"/>
              </a:lnSpc>
            </a:pPr>
            <a:r>
              <a:rPr lang="da-DK" sz="1400" dirty="0">
                <a:latin typeface="Verdana" panose="020B0604030504040204" pitchFamily="34" charset="0"/>
                <a:ea typeface="Verdana" panose="020B0604030504040204" pitchFamily="34" charset="0"/>
                <a:cs typeface="Verdana" panose="020B0604030504040204" pitchFamily="34" charset="0"/>
              </a:rPr>
              <a:t>    Anvendt regnskabspraksis</a:t>
            </a:r>
          </a:p>
        </p:txBody>
      </p:sp>
      <p:sp>
        <p:nvSpPr>
          <p:cNvPr id="7" name="Tekstfelt 7">
            <a:extLst>
              <a:ext uri="{FF2B5EF4-FFF2-40B4-BE49-F238E27FC236}">
                <a16:creationId xmlns:a16="http://schemas.microsoft.com/office/drawing/2014/main" id="{CFC91441-443D-A0AB-9307-60D7E2DAEB03}"/>
              </a:ext>
            </a:extLst>
          </p:cNvPr>
          <p:cNvSpPr txBox="1"/>
          <p:nvPr/>
        </p:nvSpPr>
        <p:spPr>
          <a:xfrm>
            <a:off x="4620265" y="1892411"/>
            <a:ext cx="441146" cy="3181384"/>
          </a:xfrm>
          <a:prstGeom prst="rect">
            <a:avLst/>
          </a:prstGeom>
          <a:noFill/>
        </p:spPr>
        <p:txBody>
          <a:bodyPr wrap="none" rtlCol="0" anchor="b">
            <a:spAutoFit/>
          </a:bodyPr>
          <a:lstStyle/>
          <a:p>
            <a:pPr lvl="0">
              <a:lnSpc>
                <a:spcPct val="120000"/>
              </a:lnSpc>
            </a:pPr>
            <a:r>
              <a:rPr lang="da-DK" sz="1400" b="1" dirty="0">
                <a:solidFill>
                  <a:srgbClr val="005850"/>
                </a:solidFill>
                <a:latin typeface="Verdana" panose="020B0604030504040204" pitchFamily="34" charset="0"/>
                <a:ea typeface="Verdana" panose="020B0604030504040204" pitchFamily="34" charset="0"/>
                <a:cs typeface="Verdana" panose="020B0604030504040204" pitchFamily="34" charset="0"/>
              </a:rPr>
              <a:t>01</a:t>
            </a:r>
          </a:p>
          <a:p>
            <a:pPr lvl="0">
              <a:lnSpc>
                <a:spcPct val="120000"/>
              </a:lnSpc>
            </a:pPr>
            <a:endParaRPr lang="da-DK" sz="1400" dirty="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dirty="0">
                <a:solidFill>
                  <a:srgbClr val="005850"/>
                </a:solidFill>
                <a:latin typeface="Verdana" panose="020B0604030504040204" pitchFamily="34" charset="0"/>
                <a:ea typeface="Verdana" panose="020B0604030504040204" pitchFamily="34" charset="0"/>
                <a:cs typeface="Verdana" panose="020B0604030504040204" pitchFamily="34" charset="0"/>
              </a:rPr>
              <a:t>02</a:t>
            </a:r>
          </a:p>
          <a:p>
            <a:pPr lvl="0">
              <a:lnSpc>
                <a:spcPct val="120000"/>
              </a:lnSpc>
            </a:pPr>
            <a:endParaRPr lang="da-DK" sz="1400" dirty="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dirty="0">
                <a:solidFill>
                  <a:srgbClr val="005850"/>
                </a:solidFill>
                <a:latin typeface="Verdana" panose="020B0604030504040204" pitchFamily="34" charset="0"/>
                <a:ea typeface="Verdana" panose="020B0604030504040204" pitchFamily="34" charset="0"/>
                <a:cs typeface="Verdana" panose="020B0604030504040204" pitchFamily="34" charset="0"/>
              </a:rPr>
              <a:t>03</a:t>
            </a:r>
          </a:p>
          <a:p>
            <a:pPr lvl="0">
              <a:lnSpc>
                <a:spcPct val="120000"/>
              </a:lnSpc>
            </a:pPr>
            <a:r>
              <a:rPr lang="da-DK" sz="1400" dirty="0">
                <a:latin typeface="Verdana" panose="020B0604030504040204" pitchFamily="34" charset="0"/>
                <a:ea typeface="Verdana" panose="020B0604030504040204" pitchFamily="34" charset="0"/>
                <a:cs typeface="Verdana" panose="020B0604030504040204" pitchFamily="34" charset="0"/>
              </a:rPr>
              <a:t>12</a:t>
            </a:r>
          </a:p>
          <a:p>
            <a:pPr lvl="0">
              <a:lnSpc>
                <a:spcPct val="120000"/>
              </a:lnSpc>
            </a:pPr>
            <a:r>
              <a:rPr lang="da-DK" sz="1400" dirty="0">
                <a:latin typeface="Verdana" panose="020B0604030504040204" pitchFamily="34" charset="0"/>
                <a:ea typeface="Verdana" panose="020B0604030504040204" pitchFamily="34" charset="0"/>
                <a:cs typeface="Verdana" panose="020B0604030504040204" pitchFamily="34" charset="0"/>
              </a:rPr>
              <a:t>17</a:t>
            </a:r>
          </a:p>
          <a:p>
            <a:pPr lvl="0">
              <a:lnSpc>
                <a:spcPct val="120000"/>
              </a:lnSpc>
            </a:pPr>
            <a:r>
              <a:rPr lang="da-DK" sz="1400" dirty="0">
                <a:latin typeface="Verdana" panose="020B0604030504040204" pitchFamily="34" charset="0"/>
                <a:ea typeface="Verdana" panose="020B0604030504040204" pitchFamily="34" charset="0"/>
                <a:cs typeface="Verdana" panose="020B0604030504040204" pitchFamily="34" charset="0"/>
              </a:rPr>
              <a:t>21</a:t>
            </a:r>
          </a:p>
          <a:p>
            <a:pPr lvl="0">
              <a:lnSpc>
                <a:spcPct val="120000"/>
              </a:lnSpc>
            </a:pPr>
            <a:endParaRPr lang="da-DK" sz="1400" dirty="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dirty="0">
                <a:solidFill>
                  <a:srgbClr val="005850"/>
                </a:solidFill>
                <a:latin typeface="Verdana" panose="020B0604030504040204" pitchFamily="34" charset="0"/>
                <a:ea typeface="Verdana" panose="020B0604030504040204" pitchFamily="34" charset="0"/>
                <a:cs typeface="Verdana" panose="020B0604030504040204" pitchFamily="34" charset="0"/>
              </a:rPr>
              <a:t>04</a:t>
            </a:r>
          </a:p>
          <a:p>
            <a:pPr lvl="0">
              <a:lnSpc>
                <a:spcPct val="120000"/>
              </a:lnSpc>
            </a:pPr>
            <a:r>
              <a:rPr lang="da-DK" sz="1400" dirty="0">
                <a:latin typeface="Verdana" panose="020B0604030504040204" pitchFamily="34" charset="0"/>
                <a:ea typeface="Verdana" panose="020B0604030504040204" pitchFamily="34" charset="0"/>
                <a:cs typeface="Verdana" panose="020B0604030504040204" pitchFamily="34" charset="0"/>
              </a:rPr>
              <a:t>26</a:t>
            </a:r>
          </a:p>
          <a:p>
            <a:pPr lvl="0">
              <a:lnSpc>
                <a:spcPct val="120000"/>
              </a:lnSpc>
            </a:pPr>
            <a:r>
              <a:rPr lang="da-DK" sz="1400" dirty="0">
                <a:latin typeface="Verdana" panose="020B0604030504040204" pitchFamily="34" charset="0"/>
                <a:ea typeface="Verdana" panose="020B0604030504040204" pitchFamily="34" charset="0"/>
                <a:cs typeface="Verdana" panose="020B0604030504040204" pitchFamily="34" charset="0"/>
              </a:rPr>
              <a:t>28</a:t>
            </a:r>
          </a:p>
        </p:txBody>
      </p:sp>
      <p:pic>
        <p:nvPicPr>
          <p:cNvPr id="206" name="Picture 205">
            <a:extLst>
              <a:ext uri="{FF2B5EF4-FFF2-40B4-BE49-F238E27FC236}">
                <a16:creationId xmlns:a16="http://schemas.microsoft.com/office/drawing/2014/main" id="{2AF09C7E-FCC4-1F21-41BD-E004E0C9D950}"/>
              </a:ext>
            </a:extLst>
          </p:cNvPr>
          <p:cNvPicPr>
            <a:picLocks noChangeAspect="1"/>
          </p:cNvPicPr>
          <p:nvPr/>
        </p:nvPicPr>
        <p:blipFill>
          <a:blip r:embed="rId5"/>
          <a:stretch>
            <a:fillRect/>
          </a:stretch>
        </p:blipFill>
        <p:spPr>
          <a:xfrm>
            <a:off x="4827129" y="5485240"/>
            <a:ext cx="1335290" cy="1372760"/>
          </a:xfrm>
          <a:prstGeom prst="rect">
            <a:avLst/>
          </a:prstGeom>
        </p:spPr>
      </p:pic>
    </p:spTree>
    <p:extLst>
      <p:ext uri="{BB962C8B-B14F-4D97-AF65-F5344CB8AC3E}">
        <p14:creationId xmlns:p14="http://schemas.microsoft.com/office/powerpoint/2010/main" val="112058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a:extLst>
            <a:ext uri="{FF2B5EF4-FFF2-40B4-BE49-F238E27FC236}">
              <a16:creationId xmlns:a16="http://schemas.microsoft.com/office/drawing/2014/main" id="{25F8E4CA-2A50-BE70-DE63-BA61FC087D54}"/>
            </a:ext>
          </a:extLst>
        </p:cNvPr>
        <p:cNvGrpSpPr/>
        <p:nvPr/>
      </p:nvGrpSpPr>
      <p:grpSpPr>
        <a:xfrm>
          <a:off x="0" y="0"/>
          <a:ext cx="0" cy="0"/>
          <a:chOff x="0" y="0"/>
          <a:chExt cx="0" cy="0"/>
        </a:xfrm>
      </p:grpSpPr>
      <p:sp>
        <p:nvSpPr>
          <p:cNvPr id="8" name="Rectangle: Top Corners Rounded 40">
            <a:extLst>
              <a:ext uri="{FF2B5EF4-FFF2-40B4-BE49-F238E27FC236}">
                <a16:creationId xmlns:a16="http://schemas.microsoft.com/office/drawing/2014/main" id="{1A203541-BF91-4CDF-28CC-866C1E99DB3B}"/>
              </a:ext>
            </a:extLst>
          </p:cNvPr>
          <p:cNvSpPr/>
          <p:nvPr/>
        </p:nvSpPr>
        <p:spPr>
          <a:xfrm rot="5400000" flipH="1">
            <a:off x="1193381" y="926553"/>
            <a:ext cx="3918230" cy="6305019"/>
          </a:xfrm>
          <a:custGeom>
            <a:avLst/>
            <a:gdLst>
              <a:gd name="connsiteX0" fmla="*/ 275875 w 1655214"/>
              <a:gd name="connsiteY0" fmla="*/ 0 h 6374003"/>
              <a:gd name="connsiteX1" fmla="*/ 1379339 w 1655214"/>
              <a:gd name="connsiteY1" fmla="*/ 0 h 6374003"/>
              <a:gd name="connsiteX2" fmla="*/ 1655214 w 1655214"/>
              <a:gd name="connsiteY2" fmla="*/ 275875 h 6374003"/>
              <a:gd name="connsiteX3" fmla="*/ 1655214 w 1655214"/>
              <a:gd name="connsiteY3" fmla="*/ 6374003 h 6374003"/>
              <a:gd name="connsiteX4" fmla="*/ 1655214 w 1655214"/>
              <a:gd name="connsiteY4" fmla="*/ 6374003 h 6374003"/>
              <a:gd name="connsiteX5" fmla="*/ 0 w 1655214"/>
              <a:gd name="connsiteY5" fmla="*/ 6374003 h 6374003"/>
              <a:gd name="connsiteX6" fmla="*/ 0 w 1655214"/>
              <a:gd name="connsiteY6" fmla="*/ 6374003 h 6374003"/>
              <a:gd name="connsiteX7" fmla="*/ 0 w 1655214"/>
              <a:gd name="connsiteY7" fmla="*/ 275875 h 6374003"/>
              <a:gd name="connsiteX8" fmla="*/ 275875 w 1655214"/>
              <a:gd name="connsiteY8" fmla="*/ 0 h 6374003"/>
              <a:gd name="connsiteX0" fmla="*/ 0 w 1655214"/>
              <a:gd name="connsiteY0" fmla="*/ 6374003 h 6465443"/>
              <a:gd name="connsiteX1" fmla="*/ 0 w 1655214"/>
              <a:gd name="connsiteY1" fmla="*/ 275875 h 6465443"/>
              <a:gd name="connsiteX2" fmla="*/ 275875 w 1655214"/>
              <a:gd name="connsiteY2" fmla="*/ 0 h 6465443"/>
              <a:gd name="connsiteX3" fmla="*/ 1379339 w 1655214"/>
              <a:gd name="connsiteY3" fmla="*/ 0 h 6465443"/>
              <a:gd name="connsiteX4" fmla="*/ 1655214 w 1655214"/>
              <a:gd name="connsiteY4" fmla="*/ 275875 h 6465443"/>
              <a:gd name="connsiteX5" fmla="*/ 1655214 w 1655214"/>
              <a:gd name="connsiteY5" fmla="*/ 6374003 h 6465443"/>
              <a:gd name="connsiteX6" fmla="*/ 1655214 w 1655214"/>
              <a:gd name="connsiteY6" fmla="*/ 6374003 h 6465443"/>
              <a:gd name="connsiteX7" fmla="*/ 0 w 1655214"/>
              <a:gd name="connsiteY7" fmla="*/ 6374003 h 6465443"/>
              <a:gd name="connsiteX8" fmla="*/ 91440 w 1655214"/>
              <a:gd name="connsiteY8" fmla="*/ 6465443 h 646544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 name="connsiteX7" fmla="*/ 0 w 1655214"/>
              <a:gd name="connsiteY7" fmla="*/ 6374003 h 637400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214" h="6374003">
                <a:moveTo>
                  <a:pt x="0" y="6374003"/>
                </a:moveTo>
                <a:lnTo>
                  <a:pt x="0" y="275875"/>
                </a:lnTo>
                <a:cubicBezTo>
                  <a:pt x="0" y="123513"/>
                  <a:pt x="123513" y="0"/>
                  <a:pt x="275875" y="0"/>
                </a:cubicBezTo>
                <a:lnTo>
                  <a:pt x="1379339" y="0"/>
                </a:lnTo>
                <a:cubicBezTo>
                  <a:pt x="1531701" y="0"/>
                  <a:pt x="1655214" y="123513"/>
                  <a:pt x="1655214" y="275875"/>
                </a:cubicBezTo>
                <a:lnTo>
                  <a:pt x="1655214" y="6374003"/>
                </a:lnTo>
                <a:lnTo>
                  <a:pt x="1655214" y="6374003"/>
                </a:lnTo>
              </a:path>
            </a:pathLst>
          </a:custGeom>
          <a:solidFill>
            <a:srgbClr val="B5CEBD"/>
          </a:solidFill>
          <a:ln w="12700" cap="flat" cmpd="sng" algn="ctr">
            <a:solidFill>
              <a:srgbClr val="0058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graphicFrame>
        <p:nvGraphicFramePr>
          <p:cNvPr id="6" name="think-cell data - do not delete" hidden="1">
            <a:extLst>
              <a:ext uri="{FF2B5EF4-FFF2-40B4-BE49-F238E27FC236}">
                <a16:creationId xmlns:a16="http://schemas.microsoft.com/office/drawing/2014/main" id="{8EE9F627-466E-4630-AA71-01F3FCC2FE0E}"/>
              </a:ext>
            </a:extLst>
          </p:cNvPr>
          <p:cNvGraphicFramePr>
            <a:graphicFrameLocks noChangeAspect="1"/>
          </p:cNvGraphicFramePr>
          <p:nvPr>
            <p:custDataLst>
              <p:tags r:id="rId1"/>
            </p:custDataLst>
            <p:extLst>
              <p:ext uri="{D42A27DB-BD31-4B8C-83A1-F6EECF244321}">
                <p14:modId xmlns:p14="http://schemas.microsoft.com/office/powerpoint/2010/main" val="1348551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8EE9F627-466E-4630-AA71-01F3FCC2FE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ladsholder til sidefod 3">
            <a:extLst>
              <a:ext uri="{FF2B5EF4-FFF2-40B4-BE49-F238E27FC236}">
                <a16:creationId xmlns:a16="http://schemas.microsoft.com/office/drawing/2014/main" id="{CF8E67F1-1DF8-8FFB-0DB1-9B2193B98EC0}"/>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F035850E-C8A1-196F-3236-07E22886672C}"/>
              </a:ext>
            </a:extLst>
          </p:cNvPr>
          <p:cNvSpPr>
            <a:spLocks noGrp="1"/>
          </p:cNvSpPr>
          <p:nvPr>
            <p:ph type="sldNum" sz="quarter" idx="12"/>
          </p:nvPr>
        </p:nvSpPr>
        <p:spPr/>
        <p:txBody>
          <a:bodyPr/>
          <a:lstStyle/>
          <a:p>
            <a:fld id="{D1CF6110-3358-3240-B3E6-2B2529506D05}" type="slidenum">
              <a:rPr lang="da-DK" smtClean="0"/>
              <a:t>30</a:t>
            </a:fld>
            <a:endParaRPr lang="da-DK"/>
          </a:p>
        </p:txBody>
      </p:sp>
      <p:sp>
        <p:nvSpPr>
          <p:cNvPr id="11" name="Tekstfelt 10">
            <a:extLst>
              <a:ext uri="{FF2B5EF4-FFF2-40B4-BE49-F238E27FC236}">
                <a16:creationId xmlns:a16="http://schemas.microsoft.com/office/drawing/2014/main" id="{D9F4D628-AA60-76B8-B287-37E5B0B5C517}"/>
              </a:ext>
            </a:extLst>
          </p:cNvPr>
          <p:cNvSpPr txBox="1"/>
          <p:nvPr/>
        </p:nvSpPr>
        <p:spPr>
          <a:xfrm>
            <a:off x="519810" y="2420983"/>
            <a:ext cx="5573111" cy="3431177"/>
          </a:xfrm>
          <a:prstGeom prst="rect">
            <a:avLst/>
          </a:prstGeom>
        </p:spPr>
        <p:txBody>
          <a:bodyPr vert="horz" lIns="91440" tIns="45720" rIns="91440" bIns="45720" rtlCol="0" anchor="ctr">
            <a:noAutofit/>
          </a:bodyPr>
          <a:lstStyle/>
          <a:p>
            <a:r>
              <a:rPr lang="da-DK" sz="1100" b="1" dirty="0">
                <a:latin typeface="Verdana" panose="020B0604030504040204" pitchFamily="34" charset="0"/>
                <a:ea typeface="Verdana" panose="020B0604030504040204" pitchFamily="34" charset="0"/>
              </a:rPr>
              <a:t>ESG-standarden i den almene sektor er et fælles rammeværk, der gør det muligt for boligorganisationer at måle, dokumentere og udvikle deres bæredygtighedsindsats.</a:t>
            </a:r>
            <a:endParaRPr lang="da-DK" sz="1100" dirty="0">
              <a:latin typeface="Verdana" panose="020B0604030504040204" pitchFamily="34" charset="0"/>
              <a:ea typeface="Verdana" panose="020B0604030504040204" pitchFamily="34" charset="0"/>
            </a:endParaRPr>
          </a:p>
          <a:p>
            <a:endParaRPr lang="da-DK" sz="1100" dirty="0">
              <a:latin typeface="Verdana" panose="020B0604030504040204" pitchFamily="34" charset="0"/>
              <a:ea typeface="Verdana" panose="020B0604030504040204" pitchFamily="34" charset="0"/>
            </a:endParaRPr>
          </a:p>
          <a:p>
            <a:r>
              <a:rPr lang="da-DK" sz="1100" dirty="0">
                <a:latin typeface="Verdana" panose="020B0604030504040204" pitchFamily="34" charset="0"/>
                <a:ea typeface="Verdana" panose="020B0604030504040204" pitchFamily="34" charset="0"/>
              </a:rPr>
              <a:t>Standarden bygger på </a:t>
            </a:r>
            <a:r>
              <a:rPr lang="da-DK" sz="1100" b="1" dirty="0">
                <a:latin typeface="Verdana" panose="020B0604030504040204" pitchFamily="34" charset="0"/>
                <a:ea typeface="Verdana" panose="020B0604030504040204" pitchFamily="34" charset="0"/>
              </a:rPr>
              <a:t>20 ESG-målepunkter</a:t>
            </a:r>
            <a:r>
              <a:rPr lang="da-DK" sz="1100" dirty="0">
                <a:latin typeface="Verdana" panose="020B0604030504040204" pitchFamily="34" charset="0"/>
                <a:ea typeface="Verdana" panose="020B0604030504040204" pitchFamily="34" charset="0"/>
              </a:rPr>
              <a:t>, der dækker miljø, sociale forhold og god ledelse. Målepunkterne tager afsæt i anerkendte standarder, men er tilpasset den almene sektors virkelighed og behov.</a:t>
            </a:r>
          </a:p>
          <a:p>
            <a:endParaRPr lang="da-DK" sz="1100" dirty="0">
              <a:latin typeface="Verdana" panose="020B0604030504040204" pitchFamily="34" charset="0"/>
              <a:ea typeface="Verdana" panose="020B0604030504040204" pitchFamily="34" charset="0"/>
            </a:endParaRPr>
          </a:p>
          <a:p>
            <a:r>
              <a:rPr lang="da-DK" sz="1100" dirty="0">
                <a:latin typeface="Verdana" panose="020B0604030504040204" pitchFamily="34" charset="0"/>
                <a:ea typeface="Verdana" panose="020B0604030504040204" pitchFamily="34" charset="0"/>
              </a:rPr>
              <a:t>De 20 målepunkter er udvalgt ud fra </a:t>
            </a:r>
            <a:r>
              <a:rPr lang="da-DK" sz="1100" b="1" dirty="0">
                <a:latin typeface="Verdana" panose="020B0604030504040204" pitchFamily="34" charset="0"/>
                <a:ea typeface="Verdana" panose="020B0604030504040204" pitchFamily="34" charset="0"/>
              </a:rPr>
              <a:t>relevans, anvendelighed og sammenlignelighed</a:t>
            </a:r>
            <a:r>
              <a:rPr lang="da-DK" sz="1100" dirty="0">
                <a:latin typeface="Verdana" panose="020B0604030504040204" pitchFamily="34" charset="0"/>
                <a:ea typeface="Verdana" panose="020B0604030504040204" pitchFamily="34" charset="0"/>
              </a:rPr>
              <a:t> – og giver boligorganisationerne et konkret værktøj til at:</a:t>
            </a:r>
          </a:p>
          <a:p>
            <a:endParaRPr lang="da-DK" sz="1100" dirty="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dirty="0">
                <a:latin typeface="Verdana" panose="020B0604030504040204" pitchFamily="34" charset="0"/>
                <a:ea typeface="Verdana" panose="020B0604030504040204" pitchFamily="34" charset="0"/>
              </a:rPr>
              <a:t>skabe overblik og dokumentation</a:t>
            </a:r>
          </a:p>
          <a:p>
            <a:pPr marL="171450" indent="-171450">
              <a:buFont typeface="Arial" panose="020B0604020202020204" pitchFamily="34" charset="0"/>
              <a:buChar char="•"/>
            </a:pPr>
            <a:r>
              <a:rPr lang="da-DK" sz="1100" dirty="0">
                <a:latin typeface="Verdana" panose="020B0604030504040204" pitchFamily="34" charset="0"/>
                <a:ea typeface="Verdana" panose="020B0604030504040204" pitchFamily="34" charset="0"/>
              </a:rPr>
              <a:t>sætte mål og prioritere indsatser</a:t>
            </a:r>
          </a:p>
          <a:p>
            <a:pPr marL="171450" indent="-171450">
              <a:buFont typeface="Arial" panose="020B0604020202020204" pitchFamily="34" charset="0"/>
              <a:buChar char="•"/>
            </a:pPr>
            <a:r>
              <a:rPr lang="da-DK" sz="1100" dirty="0">
                <a:latin typeface="Verdana" panose="020B0604030504040204" pitchFamily="34" charset="0"/>
                <a:ea typeface="Verdana" panose="020B0604030504040204" pitchFamily="34" charset="0"/>
              </a:rPr>
              <a:t>arbejde strategisk med ESG i hverdagen</a:t>
            </a:r>
          </a:p>
          <a:p>
            <a:endParaRPr lang="da-DK" sz="1100" dirty="0">
              <a:latin typeface="Verdana" panose="020B0604030504040204" pitchFamily="34" charset="0"/>
              <a:ea typeface="Verdana" panose="020B0604030504040204" pitchFamily="34" charset="0"/>
            </a:endParaRPr>
          </a:p>
          <a:p>
            <a:r>
              <a:rPr lang="da-DK" sz="1100" dirty="0">
                <a:latin typeface="Verdana" panose="020B0604030504040204" pitchFamily="34" charset="0"/>
                <a:ea typeface="Verdana" panose="020B0604030504040204" pitchFamily="34" charset="0"/>
              </a:rPr>
              <a:t>Standarden kan bruges i </a:t>
            </a:r>
            <a:r>
              <a:rPr lang="da-DK" sz="1100" b="1" dirty="0">
                <a:latin typeface="Verdana" panose="020B0604030504040204" pitchFamily="34" charset="0"/>
                <a:ea typeface="Verdana" panose="020B0604030504040204" pitchFamily="34" charset="0"/>
              </a:rPr>
              <a:t>styring, ledelse, kommunikation og dialog – både internt og eksternt</a:t>
            </a:r>
            <a:r>
              <a:rPr lang="da-DK" sz="1100" dirty="0">
                <a:latin typeface="Verdana" panose="020B0604030504040204" pitchFamily="34" charset="0"/>
                <a:ea typeface="Verdana" panose="020B0604030504040204" pitchFamily="34" charset="0"/>
              </a:rPr>
              <a:t>. Den er udviklet i tæt samarbejde mellem boligorganisationer og deres interessenter.</a:t>
            </a:r>
            <a:endParaRPr lang="da-DK" sz="1100" kern="100" dirty="0">
              <a:effectLst/>
              <a:latin typeface="Verdana" panose="020B0604030504040204" pitchFamily="34" charset="0"/>
              <a:ea typeface="Verdana" panose="020B0604030504040204" pitchFamily="34" charset="0"/>
              <a:cs typeface="Arial" panose="020B0604020202020204" pitchFamily="34" charset="0"/>
            </a:endParaRPr>
          </a:p>
        </p:txBody>
      </p:sp>
      <p:pic>
        <p:nvPicPr>
          <p:cNvPr id="3" name="Billede 2">
            <a:extLst>
              <a:ext uri="{FF2B5EF4-FFF2-40B4-BE49-F238E27FC236}">
                <a16:creationId xmlns:a16="http://schemas.microsoft.com/office/drawing/2014/main" id="{FA027BC5-D2E9-4E96-FD4A-F0A02EE1C27B}"/>
              </a:ext>
            </a:extLst>
          </p:cNvPr>
          <p:cNvPicPr>
            <a:picLocks noChangeAspect="1"/>
          </p:cNvPicPr>
          <p:nvPr/>
        </p:nvPicPr>
        <p:blipFill>
          <a:blip r:embed="rId5"/>
          <a:stretch>
            <a:fillRect/>
          </a:stretch>
        </p:blipFill>
        <p:spPr>
          <a:xfrm>
            <a:off x="6664630" y="1919761"/>
            <a:ext cx="2427120" cy="3082127"/>
          </a:xfrm>
          <a:prstGeom prst="rect">
            <a:avLst/>
          </a:prstGeom>
          <a:ln>
            <a:solidFill>
              <a:schemeClr val="accent1"/>
            </a:solidFill>
          </a:ln>
          <a:effectLst>
            <a:outerShdw blurRad="50800" dist="38100" dir="5400000" algn="t" rotWithShape="0">
              <a:prstClr val="black">
                <a:alpha val="40000"/>
              </a:prstClr>
            </a:outerShdw>
          </a:effectLst>
        </p:spPr>
      </p:pic>
      <p:pic>
        <p:nvPicPr>
          <p:cNvPr id="10" name="Billede 9">
            <a:extLst>
              <a:ext uri="{FF2B5EF4-FFF2-40B4-BE49-F238E27FC236}">
                <a16:creationId xmlns:a16="http://schemas.microsoft.com/office/drawing/2014/main" id="{53EE7A91-4A55-FDB8-7E0C-A2AF526EED49}"/>
              </a:ext>
            </a:extLst>
          </p:cNvPr>
          <p:cNvPicPr>
            <a:picLocks noChangeAspect="1"/>
          </p:cNvPicPr>
          <p:nvPr/>
        </p:nvPicPr>
        <p:blipFill>
          <a:blip r:embed="rId6"/>
          <a:stretch>
            <a:fillRect/>
          </a:stretch>
        </p:blipFill>
        <p:spPr>
          <a:xfrm>
            <a:off x="8926680" y="2339740"/>
            <a:ext cx="2427120" cy="3082129"/>
          </a:xfrm>
          <a:prstGeom prst="rect">
            <a:avLst/>
          </a:prstGeom>
          <a:ln>
            <a:solidFill>
              <a:srgbClr val="005850"/>
            </a:solidFill>
          </a:ln>
          <a:effectLst>
            <a:outerShdw blurRad="50800" dist="38100" dir="5400000" algn="t" rotWithShape="0">
              <a:prstClr val="black">
                <a:alpha val="40000"/>
              </a:prstClr>
            </a:outerShdw>
          </a:effectLst>
        </p:spPr>
      </p:pic>
      <p:sp>
        <p:nvSpPr>
          <p:cNvPr id="13" name="Tekstfelt 12">
            <a:extLst>
              <a:ext uri="{FF2B5EF4-FFF2-40B4-BE49-F238E27FC236}">
                <a16:creationId xmlns:a16="http://schemas.microsoft.com/office/drawing/2014/main" id="{6CA14DDD-5E2F-2464-C6F0-A32FF4FABFDF}"/>
              </a:ext>
            </a:extLst>
          </p:cNvPr>
          <p:cNvSpPr txBox="1"/>
          <p:nvPr/>
        </p:nvSpPr>
        <p:spPr>
          <a:xfrm>
            <a:off x="6664630" y="5047282"/>
            <a:ext cx="2298273" cy="553998"/>
          </a:xfrm>
          <a:prstGeom prst="rect">
            <a:avLst/>
          </a:prstGeom>
          <a:noFill/>
        </p:spPr>
        <p:txBody>
          <a:bodyPr wrap="square">
            <a:spAutoFit/>
          </a:bodyPr>
          <a:lstStyle/>
          <a:p>
            <a:pPr>
              <a:spcBef>
                <a:spcPts val="1000"/>
              </a:spcBef>
              <a:spcAft>
                <a:spcPts val="800"/>
              </a:spcAft>
            </a:pPr>
            <a:r>
              <a:rPr lang="da-DK" sz="1000" dirty="0">
                <a:latin typeface="Verdana" panose="020B0604030504040204" pitchFamily="34" charset="0"/>
                <a:ea typeface="Verdana" panose="020B0604030504040204" pitchFamily="34" charset="0"/>
              </a:rPr>
              <a:t>Læs beskrivelsen af målepunkterne på </a:t>
            </a:r>
            <a:r>
              <a:rPr lang="da-DK" sz="1000" dirty="0" err="1">
                <a:latin typeface="Verdana" panose="020B0604030504040204" pitchFamily="34" charset="0"/>
                <a:ea typeface="Verdana" panose="020B0604030504040204" pitchFamily="34" charset="0"/>
              </a:rPr>
              <a:t>AlmenKompas</a:t>
            </a:r>
            <a:r>
              <a:rPr lang="da-DK" sz="1000" dirty="0">
                <a:latin typeface="Verdana" panose="020B0604030504040204" pitchFamily="34" charset="0"/>
                <a:ea typeface="Verdana" panose="020B0604030504040204" pitchFamily="34" charset="0"/>
              </a:rPr>
              <a:t> hjemmeside.</a:t>
            </a:r>
            <a:endParaRPr lang="da-DK" sz="1000" u="sng" kern="100" dirty="0">
              <a:highlight>
                <a:srgbClr val="FFFF00"/>
              </a:highlight>
              <a:latin typeface="Verdana" panose="020B0604030504040204" pitchFamily="34" charset="0"/>
              <a:ea typeface="Verdana" panose="020B0604030504040204" pitchFamily="34" charset="0"/>
              <a:cs typeface="Arial" panose="020B0604020202020204" pitchFamily="34" charset="0"/>
            </a:endParaRPr>
          </a:p>
        </p:txBody>
      </p:sp>
      <p:sp>
        <p:nvSpPr>
          <p:cNvPr id="15" name="Tekstfelt 14">
            <a:extLst>
              <a:ext uri="{FF2B5EF4-FFF2-40B4-BE49-F238E27FC236}">
                <a16:creationId xmlns:a16="http://schemas.microsoft.com/office/drawing/2014/main" id="{FB83A4C0-E5C6-C7B1-C475-0B9C1145DE62}"/>
              </a:ext>
            </a:extLst>
          </p:cNvPr>
          <p:cNvSpPr txBox="1"/>
          <p:nvPr/>
        </p:nvSpPr>
        <p:spPr>
          <a:xfrm>
            <a:off x="8926680" y="5494576"/>
            <a:ext cx="2533800" cy="1015663"/>
          </a:xfrm>
          <a:prstGeom prst="rect">
            <a:avLst/>
          </a:prstGeom>
          <a:noFill/>
        </p:spPr>
        <p:txBody>
          <a:bodyPr wrap="square">
            <a:spAutoFit/>
          </a:bodyPr>
          <a:lstStyle/>
          <a:p>
            <a:r>
              <a:rPr lang="da-DK" sz="1000" dirty="0">
                <a:latin typeface="Verdana" panose="020B0604030504040204" pitchFamily="34" charset="0"/>
                <a:ea typeface="Verdana" panose="020B0604030504040204" pitchFamily="34" charset="0"/>
              </a:rPr>
              <a:t>Vil man dykke dybere ned i hvert målepunkt, findes der </a:t>
            </a:r>
            <a:r>
              <a:rPr lang="da-DK" sz="1000" u="sng" dirty="0">
                <a:latin typeface="Verdana" panose="020B0604030504040204" pitchFamily="34" charset="0"/>
                <a:ea typeface="Verdana" panose="020B0604030504040204" pitchFamily="34" charset="0"/>
              </a:rPr>
              <a:t>databeskrivelser fra Landsbyggefonden</a:t>
            </a:r>
            <a:r>
              <a:rPr lang="da-DK" sz="1000" dirty="0">
                <a:latin typeface="Verdana" panose="020B0604030504040204" pitchFamily="34" charset="0"/>
                <a:ea typeface="Verdana" panose="020B0604030504040204" pitchFamily="34" charset="0"/>
              </a:rPr>
              <a:t>, hvor alle indikatorer er udspecificeret med kilder og opdateringsfrekvens.</a:t>
            </a:r>
          </a:p>
        </p:txBody>
      </p:sp>
      <p:sp>
        <p:nvSpPr>
          <p:cNvPr id="7" name="Title 1">
            <a:extLst>
              <a:ext uri="{FF2B5EF4-FFF2-40B4-BE49-F238E27FC236}">
                <a16:creationId xmlns:a16="http://schemas.microsoft.com/office/drawing/2014/main" id="{AD75E057-0BBA-ECC9-D34D-019EECBA25F3}"/>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Datagrundlaget for ESG-rapporten</a:t>
            </a:r>
          </a:p>
        </p:txBody>
      </p:sp>
    </p:spTree>
    <p:extLst>
      <p:ext uri="{BB962C8B-B14F-4D97-AF65-F5344CB8AC3E}">
        <p14:creationId xmlns:p14="http://schemas.microsoft.com/office/powerpoint/2010/main" val="6769410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899C6DD-F14B-5DE0-DDD8-4D3BB5024EAC}"/>
              </a:ext>
            </a:extLst>
          </p:cNvPr>
          <p:cNvGraphicFramePr>
            <a:graphicFrameLocks noChangeAspect="1"/>
          </p:cNvGraphicFramePr>
          <p:nvPr>
            <p:custDataLst>
              <p:tags r:id="rId1"/>
            </p:custDataLst>
            <p:extLst>
              <p:ext uri="{D42A27DB-BD31-4B8C-83A1-F6EECF244321}">
                <p14:modId xmlns:p14="http://schemas.microsoft.com/office/powerpoint/2010/main" val="38710220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899C6DD-F14B-5DE0-DDD8-4D3BB5024EA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Pladsholder til sidefod 3">
            <a:extLst>
              <a:ext uri="{FF2B5EF4-FFF2-40B4-BE49-F238E27FC236}">
                <a16:creationId xmlns:a16="http://schemas.microsoft.com/office/drawing/2014/main" id="{17CF18F9-6416-2139-910F-4C67C3A8546D}"/>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B2D45656-5437-607A-A030-FCBF2936A6FA}"/>
              </a:ext>
            </a:extLst>
          </p:cNvPr>
          <p:cNvSpPr>
            <a:spLocks noGrp="1"/>
          </p:cNvSpPr>
          <p:nvPr>
            <p:ph type="sldNum" sz="quarter" idx="12"/>
          </p:nvPr>
        </p:nvSpPr>
        <p:spPr/>
        <p:txBody>
          <a:bodyPr/>
          <a:lstStyle/>
          <a:p>
            <a:fld id="{D1CF6110-3358-3240-B3E6-2B2529506D05}" type="slidenum">
              <a:rPr lang="da-DK" smtClean="0"/>
              <a:t>31</a:t>
            </a:fld>
            <a:endParaRPr lang="da-DK"/>
          </a:p>
        </p:txBody>
      </p:sp>
      <p:sp>
        <p:nvSpPr>
          <p:cNvPr id="8" name="Title 1">
            <a:extLst>
              <a:ext uri="{FF2B5EF4-FFF2-40B4-BE49-F238E27FC236}">
                <a16:creationId xmlns:a16="http://schemas.microsoft.com/office/drawing/2014/main" id="{600AF576-3109-AA78-959F-90C8D0373DC8}"/>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4000" dirty="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Anvendt regnskabspraksis</a:t>
            </a:r>
          </a:p>
        </p:txBody>
      </p:sp>
      <p:grpSp>
        <p:nvGrpSpPr>
          <p:cNvPr id="12" name="Group 11">
            <a:extLst>
              <a:ext uri="{FF2B5EF4-FFF2-40B4-BE49-F238E27FC236}">
                <a16:creationId xmlns:a16="http://schemas.microsoft.com/office/drawing/2014/main" id="{28A6DE9F-1938-19ED-F616-19B94DCA06ED}"/>
              </a:ext>
            </a:extLst>
          </p:cNvPr>
          <p:cNvGrpSpPr/>
          <p:nvPr/>
        </p:nvGrpSpPr>
        <p:grpSpPr>
          <a:xfrm>
            <a:off x="-4431" y="2021470"/>
            <a:ext cx="11254945" cy="720000"/>
            <a:chOff x="-4431" y="2307717"/>
            <a:chExt cx="11254945" cy="720000"/>
          </a:xfrm>
        </p:grpSpPr>
        <p:sp>
          <p:nvSpPr>
            <p:cNvPr id="3" name="Afrundet rektangel 2">
              <a:extLst>
                <a:ext uri="{FF2B5EF4-FFF2-40B4-BE49-F238E27FC236}">
                  <a16:creationId xmlns:a16="http://schemas.microsoft.com/office/drawing/2014/main" id="{AD2B09C8-2C57-300D-3909-5C6BD9876F9F}"/>
                </a:ext>
              </a:extLst>
            </p:cNvPr>
            <p:cNvSpPr/>
            <p:nvPr/>
          </p:nvSpPr>
          <p:spPr>
            <a:xfrm>
              <a:off x="941487" y="2307717"/>
              <a:ext cx="10309027" cy="720000"/>
            </a:xfrm>
            <a:prstGeom prst="roundRect">
              <a:avLst>
                <a:gd name="adj" fmla="val 12500"/>
              </a:avLst>
            </a:prstGeom>
            <a:solidFill>
              <a:srgbClr val="B5CEBD">
                <a:alpha val="8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b="1">
                  <a:solidFill>
                    <a:schemeClr val="tx1"/>
                  </a:solidFill>
                  <a:latin typeface="Verdana" panose="020B0604030504040204" pitchFamily="34" charset="0"/>
                  <a:ea typeface="Verdana" panose="020B0604030504040204" pitchFamily="34" charset="0"/>
                  <a:cs typeface="Verdana" panose="020B0604030504040204" pitchFamily="34" charset="0"/>
                </a:rPr>
                <a:t>Regnskabsperiode</a:t>
              </a:r>
            </a:p>
            <a:p>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Regnskabsperioden følger regnskabsåret, der løber fra [den 1. januar til den 31. december/1. juli til den 30. juni].</a:t>
              </a:r>
            </a:p>
          </p:txBody>
        </p:sp>
        <p:cxnSp>
          <p:nvCxnSpPr>
            <p:cNvPr id="16" name="Lige pilforbindelse 15">
              <a:extLst>
                <a:ext uri="{FF2B5EF4-FFF2-40B4-BE49-F238E27FC236}">
                  <a16:creationId xmlns:a16="http://schemas.microsoft.com/office/drawing/2014/main" id="{CBE4E5A8-04C2-50B0-19F7-9C82C96F334F}"/>
                </a:ext>
              </a:extLst>
            </p:cNvPr>
            <p:cNvCxnSpPr>
              <a:cxnSpLocks/>
            </p:cNvCxnSpPr>
            <p:nvPr/>
          </p:nvCxnSpPr>
          <p:spPr>
            <a:xfrm flipV="1">
              <a:off x="-4431" y="2649717"/>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1179277C-8B77-6175-8C3E-A9F6992A7E2F}"/>
              </a:ext>
            </a:extLst>
          </p:cNvPr>
          <p:cNvGrpSpPr/>
          <p:nvPr/>
        </p:nvGrpSpPr>
        <p:grpSpPr>
          <a:xfrm>
            <a:off x="-4431" y="2965018"/>
            <a:ext cx="11254945" cy="720000"/>
            <a:chOff x="-4431" y="3198980"/>
            <a:chExt cx="11254945" cy="720000"/>
          </a:xfrm>
        </p:grpSpPr>
        <p:sp>
          <p:nvSpPr>
            <p:cNvPr id="10" name="Afrundet rektangel 9">
              <a:extLst>
                <a:ext uri="{FF2B5EF4-FFF2-40B4-BE49-F238E27FC236}">
                  <a16:creationId xmlns:a16="http://schemas.microsoft.com/office/drawing/2014/main" id="{E2277BB0-7DA4-54C7-B6B8-E72FC2D6A0DD}"/>
                </a:ext>
              </a:extLst>
            </p:cNvPr>
            <p:cNvSpPr/>
            <p:nvPr/>
          </p:nvSpPr>
          <p:spPr>
            <a:xfrm>
              <a:off x="941487" y="3198980"/>
              <a:ext cx="10309027" cy="720000"/>
            </a:xfrm>
            <a:prstGeom prst="roundRect">
              <a:avLst>
                <a:gd name="adj" fmla="val 12500"/>
              </a:avLst>
            </a:prstGeom>
            <a:solidFill>
              <a:srgbClr val="B5CEBD">
                <a:alpha val="8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b="1">
                  <a:solidFill>
                    <a:schemeClr val="tx1"/>
                  </a:solidFill>
                  <a:latin typeface="Verdana" panose="020B0604030504040204" pitchFamily="34" charset="0"/>
                  <a:ea typeface="Verdana" panose="020B0604030504040204" pitchFamily="34" charset="0"/>
                  <a:cs typeface="Verdana" panose="020B0604030504040204" pitchFamily="34" charset="0"/>
                </a:rPr>
                <a:t>Manglende og delvis data</a:t>
              </a:r>
            </a:p>
            <a:p>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Hvis der mangler den nødvendige data til at rapportere på et målepunkt, er ” - ” angivet i rapporteringen. Hvis der kun er delvis/ufuldstændige data for så vidt angår et datapunkt, er ” * ” angivet efter nøgletallet i rapporteringen, og der er indsat en note herom.</a:t>
              </a:r>
            </a:p>
          </p:txBody>
        </p:sp>
        <p:cxnSp>
          <p:nvCxnSpPr>
            <p:cNvPr id="18" name="Lige pilforbindelse 17">
              <a:extLst>
                <a:ext uri="{FF2B5EF4-FFF2-40B4-BE49-F238E27FC236}">
                  <a16:creationId xmlns:a16="http://schemas.microsoft.com/office/drawing/2014/main" id="{C9FCD2F1-AB4F-C0EA-CDF3-6B3060F47340}"/>
                </a:ext>
              </a:extLst>
            </p:cNvPr>
            <p:cNvCxnSpPr>
              <a:cxnSpLocks/>
            </p:cNvCxnSpPr>
            <p:nvPr/>
          </p:nvCxnSpPr>
          <p:spPr>
            <a:xfrm flipV="1">
              <a:off x="-4431" y="3540980"/>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2" name="Group 1">
            <a:extLst>
              <a:ext uri="{FF2B5EF4-FFF2-40B4-BE49-F238E27FC236}">
                <a16:creationId xmlns:a16="http://schemas.microsoft.com/office/drawing/2014/main" id="{C26FFF9E-E8CF-FECF-D937-E4EBAF3A51D5}"/>
              </a:ext>
            </a:extLst>
          </p:cNvPr>
          <p:cNvGrpSpPr/>
          <p:nvPr/>
        </p:nvGrpSpPr>
        <p:grpSpPr>
          <a:xfrm>
            <a:off x="-4431" y="3908566"/>
            <a:ext cx="11254945" cy="1070801"/>
            <a:chOff x="-4431" y="4090242"/>
            <a:chExt cx="11254945" cy="1070801"/>
          </a:xfrm>
        </p:grpSpPr>
        <p:sp>
          <p:nvSpPr>
            <p:cNvPr id="6" name="Afrundet rektangel 5">
              <a:extLst>
                <a:ext uri="{FF2B5EF4-FFF2-40B4-BE49-F238E27FC236}">
                  <a16:creationId xmlns:a16="http://schemas.microsoft.com/office/drawing/2014/main" id="{56802AE2-C14D-09B6-9F65-A5FF73FF0545}"/>
                </a:ext>
              </a:extLst>
            </p:cNvPr>
            <p:cNvSpPr/>
            <p:nvPr/>
          </p:nvSpPr>
          <p:spPr>
            <a:xfrm>
              <a:off x="941487" y="4090242"/>
              <a:ext cx="10309027" cy="1070801"/>
            </a:xfrm>
            <a:prstGeom prst="roundRect">
              <a:avLst>
                <a:gd name="adj" fmla="val 12500"/>
              </a:avLst>
            </a:prstGeom>
            <a:solidFill>
              <a:srgbClr val="B5CEBD">
                <a:alpha val="8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b="1">
                  <a:solidFill>
                    <a:schemeClr val="tx1"/>
                  </a:solidFill>
                  <a:latin typeface="Verdana" panose="020B0604030504040204" pitchFamily="34" charset="0"/>
                  <a:ea typeface="Verdana" panose="020B0604030504040204" pitchFamily="34" charset="0"/>
                  <a:cs typeface="Verdana" panose="020B0604030504040204" pitchFamily="34" charset="0"/>
                </a:rPr>
                <a:t>Anvendt regnskabspraksis</a:t>
              </a:r>
            </a:p>
            <a:p>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ESG-data er opstillet, opgjort og beregnet i overensstemmelse med </a:t>
              </a:r>
              <a:r>
                <a:rPr lang="da-DK" sz="1100" err="1">
                  <a:solidFill>
                    <a:schemeClr val="tx1"/>
                  </a:solidFill>
                  <a:latin typeface="Verdana" panose="020B0604030504040204" pitchFamily="34" charset="0"/>
                  <a:ea typeface="Verdana" panose="020B0604030504040204" pitchFamily="34" charset="0"/>
                  <a:cs typeface="Verdana" panose="020B0604030504040204" pitchFamily="34" charset="0"/>
                </a:rPr>
                <a:t>AlmenKompas</a:t>
              </a:r>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 standarden. Databeskrivelser kan findes på Landsbyggefondens hjemmeside. Har I lavet tilføjelser eller/og undtagelser til </a:t>
              </a:r>
              <a:r>
                <a:rPr lang="da-DK" sz="1100" err="1">
                  <a:solidFill>
                    <a:schemeClr val="tx1"/>
                  </a:solidFill>
                  <a:latin typeface="Verdana" panose="020B0604030504040204" pitchFamily="34" charset="0"/>
                  <a:ea typeface="Verdana" panose="020B0604030504040204" pitchFamily="34" charset="0"/>
                  <a:cs typeface="Verdana" panose="020B0604030504040204" pitchFamily="34" charset="0"/>
                </a:rPr>
                <a:t>AlmenKompas</a:t>
              </a:r>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 standarden, er det beskrevet på næste side. Hvis der er gjort tilføjelser eller undtagelser kan de beskrives her: </a:t>
              </a:r>
            </a:p>
            <a:p>
              <a:pPr marL="171450" indent="-171450">
                <a:buFont typeface="Arial" panose="020B0604020202020204" pitchFamily="34" charset="0"/>
                <a:buChar char="•"/>
              </a:pPr>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a:t>
              </a:r>
            </a:p>
          </p:txBody>
        </p:sp>
        <p:cxnSp>
          <p:nvCxnSpPr>
            <p:cNvPr id="22" name="Lige pilforbindelse 21">
              <a:extLst>
                <a:ext uri="{FF2B5EF4-FFF2-40B4-BE49-F238E27FC236}">
                  <a16:creationId xmlns:a16="http://schemas.microsoft.com/office/drawing/2014/main" id="{5F4923D2-937E-5E62-E0B8-81AEFA756FA0}"/>
                </a:ext>
              </a:extLst>
            </p:cNvPr>
            <p:cNvCxnSpPr>
              <a:cxnSpLocks/>
            </p:cNvCxnSpPr>
            <p:nvPr/>
          </p:nvCxnSpPr>
          <p:spPr>
            <a:xfrm>
              <a:off x="-4431" y="4625642"/>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F84CD2F-C7B6-E729-C8CA-BEA9C4419000}"/>
              </a:ext>
            </a:extLst>
          </p:cNvPr>
          <p:cNvGrpSpPr/>
          <p:nvPr/>
        </p:nvGrpSpPr>
        <p:grpSpPr>
          <a:xfrm>
            <a:off x="-4431" y="5202914"/>
            <a:ext cx="11254945" cy="720000"/>
            <a:chOff x="-4431" y="5202914"/>
            <a:chExt cx="11254945" cy="720000"/>
          </a:xfrm>
        </p:grpSpPr>
        <p:sp>
          <p:nvSpPr>
            <p:cNvPr id="11" name="Afrundet rektangel 10">
              <a:extLst>
                <a:ext uri="{FF2B5EF4-FFF2-40B4-BE49-F238E27FC236}">
                  <a16:creationId xmlns:a16="http://schemas.microsoft.com/office/drawing/2014/main" id="{CFA25AE8-5BDF-016D-ADF6-CC713AAA6B29}"/>
                </a:ext>
              </a:extLst>
            </p:cNvPr>
            <p:cNvSpPr/>
            <p:nvPr/>
          </p:nvSpPr>
          <p:spPr>
            <a:xfrm>
              <a:off x="941487" y="5202914"/>
              <a:ext cx="10309027" cy="720000"/>
            </a:xfrm>
            <a:prstGeom prst="roundRect">
              <a:avLst>
                <a:gd name="adj" fmla="val 12500"/>
              </a:avLst>
            </a:prstGeom>
            <a:solidFill>
              <a:srgbClr val="B5CEBD">
                <a:alpha val="8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b="1" dirty="0">
                  <a:solidFill>
                    <a:schemeClr val="tx1"/>
                  </a:solidFill>
                  <a:latin typeface="Verdana" panose="020B0604030504040204" pitchFamily="34" charset="0"/>
                  <a:ea typeface="Verdana" panose="020B0604030504040204" pitchFamily="34" charset="0"/>
                  <a:cs typeface="Verdana" panose="020B0604030504040204" pitchFamily="34" charset="0"/>
                </a:rPr>
                <a:t>Sammenlignelige oplysninger</a:t>
              </a:r>
            </a:p>
            <a:p>
              <a:r>
                <a:rPr lang="da-DK" sz="1100" dirty="0">
                  <a:solidFill>
                    <a:schemeClr val="tx1"/>
                  </a:solidFill>
                  <a:latin typeface="Verdana" panose="020B0604030504040204" pitchFamily="34" charset="0"/>
                  <a:ea typeface="Verdana" panose="020B0604030504040204" pitchFamily="34" charset="0"/>
                  <a:cs typeface="Verdana" panose="020B0604030504040204" pitchFamily="34" charset="0"/>
                </a:rPr>
                <a:t>Der foretages løbende præciseringer, korrektioner og opdateringer af opgørelsesmetoder. I det omfang tidligere års nøgletal indgår i denne rapport, er tidligere års nøgletal tilpasset nye opgørelsesmetoder, så tidligere års nøgletal bliver sammenlignelige med seneste nøgletal, og der er indsat en note herom.</a:t>
              </a:r>
            </a:p>
          </p:txBody>
        </p:sp>
        <p:cxnSp>
          <p:nvCxnSpPr>
            <p:cNvPr id="26" name="Lige pilforbindelse 25">
              <a:extLst>
                <a:ext uri="{FF2B5EF4-FFF2-40B4-BE49-F238E27FC236}">
                  <a16:creationId xmlns:a16="http://schemas.microsoft.com/office/drawing/2014/main" id="{C41DE30A-F051-7CFA-86AD-065140C54638}"/>
                </a:ext>
              </a:extLst>
            </p:cNvPr>
            <p:cNvCxnSpPr>
              <a:cxnSpLocks/>
            </p:cNvCxnSpPr>
            <p:nvPr/>
          </p:nvCxnSpPr>
          <p:spPr>
            <a:xfrm>
              <a:off x="-4431" y="5556190"/>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3E03875A-C8DE-48EF-3725-EF0FBD42DD46}"/>
              </a:ext>
            </a:extLst>
          </p:cNvPr>
          <p:cNvGrpSpPr/>
          <p:nvPr/>
        </p:nvGrpSpPr>
        <p:grpSpPr>
          <a:xfrm>
            <a:off x="10761613" y="1605959"/>
            <a:ext cx="870861" cy="831468"/>
            <a:chOff x="10761613" y="1663605"/>
            <a:chExt cx="870861" cy="831468"/>
          </a:xfrm>
          <a:effectLst>
            <a:outerShdw blurRad="50800" dist="38100" dir="5400000" algn="t" rotWithShape="0">
              <a:prstClr val="black">
                <a:alpha val="40000"/>
              </a:prstClr>
            </a:outerShdw>
          </a:effectLst>
        </p:grpSpPr>
        <p:grpSp>
          <p:nvGrpSpPr>
            <p:cNvPr id="19" name="Group 9">
              <a:extLst>
                <a:ext uri="{FF2B5EF4-FFF2-40B4-BE49-F238E27FC236}">
                  <a16:creationId xmlns:a16="http://schemas.microsoft.com/office/drawing/2014/main" id="{0D0C3476-C8BA-EBCA-15AB-9AD5C8A8E74F}"/>
                </a:ext>
              </a:extLst>
            </p:cNvPr>
            <p:cNvGrpSpPr/>
            <p:nvPr/>
          </p:nvGrpSpPr>
          <p:grpSpPr>
            <a:xfrm>
              <a:off x="10761613" y="1663605"/>
              <a:ext cx="870861" cy="831468"/>
              <a:chOff x="4156082" y="-3024236"/>
              <a:chExt cx="2183420" cy="2200431"/>
            </a:xfrm>
            <a:solidFill>
              <a:srgbClr val="B5CEBD"/>
            </a:solidFill>
          </p:grpSpPr>
          <p:sp>
            <p:nvSpPr>
              <p:cNvPr id="20" name="Freeform: Shape 10">
                <a:extLst>
                  <a:ext uri="{FF2B5EF4-FFF2-40B4-BE49-F238E27FC236}">
                    <a16:creationId xmlns:a16="http://schemas.microsoft.com/office/drawing/2014/main" id="{BF5A3522-8C6D-F079-1238-F49BA041010D}"/>
                  </a:ext>
                </a:extLst>
              </p:cNvPr>
              <p:cNvSpPr/>
              <p:nvPr/>
            </p:nvSpPr>
            <p:spPr>
              <a:xfrm>
                <a:off x="4189262" y="-2967694"/>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grpFill/>
              <a:ln w="5213" cap="flat">
                <a:solidFill>
                  <a:srgbClr val="005850"/>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sp>
            <p:nvSpPr>
              <p:cNvPr id="21" name="Freeform: Shape 11">
                <a:extLst>
                  <a:ext uri="{FF2B5EF4-FFF2-40B4-BE49-F238E27FC236}">
                    <a16:creationId xmlns:a16="http://schemas.microsoft.com/office/drawing/2014/main" id="{7C8B9F3D-B672-BB60-9D54-8387BF9CE889}"/>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grpFill/>
              <a:ln w="5213" cap="flat">
                <a:solidFill>
                  <a:srgbClr val="005850"/>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grpSp>
        <p:pic>
          <p:nvPicPr>
            <p:cNvPr id="15" name="Picture 14">
              <a:extLst>
                <a:ext uri="{FF2B5EF4-FFF2-40B4-BE49-F238E27FC236}">
                  <a16:creationId xmlns:a16="http://schemas.microsoft.com/office/drawing/2014/main" id="{8A1E4A01-4801-E325-60E7-BB5E4D3A4208}"/>
                </a:ext>
              </a:extLst>
            </p:cNvPr>
            <p:cNvPicPr>
              <a:picLocks noChangeAspect="1"/>
            </p:cNvPicPr>
            <p:nvPr/>
          </p:nvPicPr>
          <p:blipFill>
            <a:blip r:embed="rId6"/>
            <a:stretch>
              <a:fillRect/>
            </a:stretch>
          </p:blipFill>
          <p:spPr>
            <a:xfrm>
              <a:off x="10839499" y="1678305"/>
              <a:ext cx="779741" cy="801622"/>
            </a:xfrm>
            <a:prstGeom prst="rect">
              <a:avLst/>
            </a:prstGeom>
          </p:spPr>
        </p:pic>
      </p:grpSp>
    </p:spTree>
    <p:extLst>
      <p:ext uri="{BB962C8B-B14F-4D97-AF65-F5344CB8AC3E}">
        <p14:creationId xmlns:p14="http://schemas.microsoft.com/office/powerpoint/2010/main" val="42280700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p:cNvGrpSpPr/>
        <p:nvPr/>
      </p:nvGrpSpPr>
      <p:grpSpPr>
        <a:xfrm>
          <a:off x="0" y="0"/>
          <a:ext cx="0" cy="0"/>
          <a:chOff x="0" y="0"/>
          <a:chExt cx="0" cy="0"/>
        </a:xfrm>
      </p:grpSpPr>
      <p:sp>
        <p:nvSpPr>
          <p:cNvPr id="2" name="Pladsholder til sidefod 1">
            <a:extLst>
              <a:ext uri="{FF2B5EF4-FFF2-40B4-BE49-F238E27FC236}">
                <a16:creationId xmlns:a16="http://schemas.microsoft.com/office/drawing/2014/main" id="{02D5BFA6-BBD3-7FC2-99C5-0093335657FB}"/>
              </a:ext>
            </a:extLst>
          </p:cNvPr>
          <p:cNvSpPr>
            <a:spLocks noGrp="1"/>
          </p:cNvSpPr>
          <p:nvPr>
            <p:ph type="ftr" sz="quarter" idx="11"/>
          </p:nvPr>
        </p:nvSpPr>
        <p:spPr/>
        <p:txBody>
          <a:bodyPr/>
          <a:lstStyle/>
          <a:p>
            <a:endParaRPr lang="da-DK"/>
          </a:p>
        </p:txBody>
      </p:sp>
      <p:sp>
        <p:nvSpPr>
          <p:cNvPr id="3" name="Pladsholder til slidenummer 2">
            <a:extLst>
              <a:ext uri="{FF2B5EF4-FFF2-40B4-BE49-F238E27FC236}">
                <a16:creationId xmlns:a16="http://schemas.microsoft.com/office/drawing/2014/main" id="{315E97CD-C877-C821-709C-5FB5776B0B58}"/>
              </a:ext>
            </a:extLst>
          </p:cNvPr>
          <p:cNvSpPr>
            <a:spLocks noGrp="1"/>
          </p:cNvSpPr>
          <p:nvPr>
            <p:ph type="sldNum" sz="quarter" idx="12"/>
          </p:nvPr>
        </p:nvSpPr>
        <p:spPr/>
        <p:txBody>
          <a:bodyPr/>
          <a:lstStyle/>
          <a:p>
            <a:fld id="{D1CF6110-3358-3240-B3E6-2B2529506D05}" type="slidenum">
              <a:rPr lang="da-DK" smtClean="0"/>
              <a:t>32</a:t>
            </a:fld>
            <a:endParaRPr lang="da-DK"/>
          </a:p>
        </p:txBody>
      </p:sp>
      <p:sp>
        <p:nvSpPr>
          <p:cNvPr id="4" name="Rektangel 1">
            <a:extLst>
              <a:ext uri="{FF2B5EF4-FFF2-40B4-BE49-F238E27FC236}">
                <a16:creationId xmlns:a16="http://schemas.microsoft.com/office/drawing/2014/main" id="{C56B4802-483C-21D4-E55C-A2D7AC49C727}"/>
              </a:ext>
            </a:extLst>
          </p:cNvPr>
          <p:cNvSpPr/>
          <p:nvPr/>
        </p:nvSpPr>
        <p:spPr>
          <a:xfrm>
            <a:off x="609600" y="1344706"/>
            <a:ext cx="10972800" cy="4697506"/>
          </a:xfrm>
          <a:prstGeom prst="rect">
            <a:avLst/>
          </a:prstGeom>
          <a:solidFill>
            <a:schemeClr val="bg1"/>
          </a:solidFill>
          <a:ln w="12700">
            <a:solidFill>
              <a:srgbClr val="005850"/>
            </a:solidFill>
            <a:prstDash val="dash"/>
            <a:extLst>
              <a:ext uri="{C807C97D-BFC1-408E-A445-0C87EB9F89A2}">
                <ask:lineSketchStyleProps xmlns:ask="http://schemas.microsoft.com/office/drawing/2018/sketchyshapes" sd="70366811">
                  <a:custGeom>
                    <a:avLst/>
                    <a:gdLst>
                      <a:gd name="connsiteX0" fmla="*/ 0 w 10972800"/>
                      <a:gd name="connsiteY0" fmla="*/ 0 h 4697506"/>
                      <a:gd name="connsiteX1" fmla="*/ 466344 w 10972800"/>
                      <a:gd name="connsiteY1" fmla="*/ 0 h 4697506"/>
                      <a:gd name="connsiteX2" fmla="*/ 1042416 w 10972800"/>
                      <a:gd name="connsiteY2" fmla="*/ 0 h 4697506"/>
                      <a:gd name="connsiteX3" fmla="*/ 1837944 w 10972800"/>
                      <a:gd name="connsiteY3" fmla="*/ 0 h 4697506"/>
                      <a:gd name="connsiteX4" fmla="*/ 2633472 w 10972800"/>
                      <a:gd name="connsiteY4" fmla="*/ 0 h 4697506"/>
                      <a:gd name="connsiteX5" fmla="*/ 3319272 w 10972800"/>
                      <a:gd name="connsiteY5" fmla="*/ 0 h 4697506"/>
                      <a:gd name="connsiteX6" fmla="*/ 4114800 w 10972800"/>
                      <a:gd name="connsiteY6" fmla="*/ 0 h 4697506"/>
                      <a:gd name="connsiteX7" fmla="*/ 4910328 w 10972800"/>
                      <a:gd name="connsiteY7" fmla="*/ 0 h 4697506"/>
                      <a:gd name="connsiteX8" fmla="*/ 5596128 w 10972800"/>
                      <a:gd name="connsiteY8" fmla="*/ 0 h 4697506"/>
                      <a:gd name="connsiteX9" fmla="*/ 6062472 w 10972800"/>
                      <a:gd name="connsiteY9" fmla="*/ 0 h 4697506"/>
                      <a:gd name="connsiteX10" fmla="*/ 6967728 w 10972800"/>
                      <a:gd name="connsiteY10" fmla="*/ 0 h 4697506"/>
                      <a:gd name="connsiteX11" fmla="*/ 7324344 w 10972800"/>
                      <a:gd name="connsiteY11" fmla="*/ 0 h 4697506"/>
                      <a:gd name="connsiteX12" fmla="*/ 7900416 w 10972800"/>
                      <a:gd name="connsiteY12" fmla="*/ 0 h 4697506"/>
                      <a:gd name="connsiteX13" fmla="*/ 8476488 w 10972800"/>
                      <a:gd name="connsiteY13" fmla="*/ 0 h 4697506"/>
                      <a:gd name="connsiteX14" fmla="*/ 9272016 w 10972800"/>
                      <a:gd name="connsiteY14" fmla="*/ 0 h 4697506"/>
                      <a:gd name="connsiteX15" fmla="*/ 9738360 w 10972800"/>
                      <a:gd name="connsiteY15" fmla="*/ 0 h 4697506"/>
                      <a:gd name="connsiteX16" fmla="*/ 10972800 w 10972800"/>
                      <a:gd name="connsiteY16" fmla="*/ 0 h 4697506"/>
                      <a:gd name="connsiteX17" fmla="*/ 10972800 w 10972800"/>
                      <a:gd name="connsiteY17" fmla="*/ 765022 h 4697506"/>
                      <a:gd name="connsiteX18" fmla="*/ 10972800 w 10972800"/>
                      <a:gd name="connsiteY18" fmla="*/ 1295170 h 4697506"/>
                      <a:gd name="connsiteX19" fmla="*/ 10972800 w 10972800"/>
                      <a:gd name="connsiteY19" fmla="*/ 1919267 h 4697506"/>
                      <a:gd name="connsiteX20" fmla="*/ 10972800 w 10972800"/>
                      <a:gd name="connsiteY20" fmla="*/ 2684289 h 4697506"/>
                      <a:gd name="connsiteX21" fmla="*/ 10972800 w 10972800"/>
                      <a:gd name="connsiteY21" fmla="*/ 3308386 h 4697506"/>
                      <a:gd name="connsiteX22" fmla="*/ 10972800 w 10972800"/>
                      <a:gd name="connsiteY22" fmla="*/ 3979459 h 4697506"/>
                      <a:gd name="connsiteX23" fmla="*/ 10972800 w 10972800"/>
                      <a:gd name="connsiteY23" fmla="*/ 4697506 h 4697506"/>
                      <a:gd name="connsiteX24" fmla="*/ 10287000 w 10972800"/>
                      <a:gd name="connsiteY24" fmla="*/ 4697506 h 4697506"/>
                      <a:gd name="connsiteX25" fmla="*/ 9381744 w 10972800"/>
                      <a:gd name="connsiteY25" fmla="*/ 4697506 h 4697506"/>
                      <a:gd name="connsiteX26" fmla="*/ 8586216 w 10972800"/>
                      <a:gd name="connsiteY26" fmla="*/ 4697506 h 4697506"/>
                      <a:gd name="connsiteX27" fmla="*/ 7680960 w 10972800"/>
                      <a:gd name="connsiteY27" fmla="*/ 4697506 h 4697506"/>
                      <a:gd name="connsiteX28" fmla="*/ 6995160 w 10972800"/>
                      <a:gd name="connsiteY28" fmla="*/ 4697506 h 4697506"/>
                      <a:gd name="connsiteX29" fmla="*/ 6309360 w 10972800"/>
                      <a:gd name="connsiteY29" fmla="*/ 4697506 h 4697506"/>
                      <a:gd name="connsiteX30" fmla="*/ 5623560 w 10972800"/>
                      <a:gd name="connsiteY30" fmla="*/ 4697506 h 4697506"/>
                      <a:gd name="connsiteX31" fmla="*/ 5047488 w 10972800"/>
                      <a:gd name="connsiteY31" fmla="*/ 4697506 h 4697506"/>
                      <a:gd name="connsiteX32" fmla="*/ 4361688 w 10972800"/>
                      <a:gd name="connsiteY32" fmla="*/ 4697506 h 4697506"/>
                      <a:gd name="connsiteX33" fmla="*/ 3456432 w 10972800"/>
                      <a:gd name="connsiteY33" fmla="*/ 4697506 h 4697506"/>
                      <a:gd name="connsiteX34" fmla="*/ 2660904 w 10972800"/>
                      <a:gd name="connsiteY34" fmla="*/ 4697506 h 4697506"/>
                      <a:gd name="connsiteX35" fmla="*/ 2084832 w 10972800"/>
                      <a:gd name="connsiteY35" fmla="*/ 4697506 h 4697506"/>
                      <a:gd name="connsiteX36" fmla="*/ 1728216 w 10972800"/>
                      <a:gd name="connsiteY36" fmla="*/ 4697506 h 4697506"/>
                      <a:gd name="connsiteX37" fmla="*/ 932688 w 10972800"/>
                      <a:gd name="connsiteY37" fmla="*/ 4697506 h 4697506"/>
                      <a:gd name="connsiteX38" fmla="*/ 0 w 10972800"/>
                      <a:gd name="connsiteY38" fmla="*/ 4697506 h 4697506"/>
                      <a:gd name="connsiteX39" fmla="*/ 0 w 10972800"/>
                      <a:gd name="connsiteY39" fmla="*/ 4073409 h 4697506"/>
                      <a:gd name="connsiteX40" fmla="*/ 0 w 10972800"/>
                      <a:gd name="connsiteY40" fmla="*/ 3496287 h 4697506"/>
                      <a:gd name="connsiteX41" fmla="*/ 0 w 10972800"/>
                      <a:gd name="connsiteY41" fmla="*/ 2825214 h 4697506"/>
                      <a:gd name="connsiteX42" fmla="*/ 0 w 10972800"/>
                      <a:gd name="connsiteY42" fmla="*/ 2060192 h 4697506"/>
                      <a:gd name="connsiteX43" fmla="*/ 0 w 10972800"/>
                      <a:gd name="connsiteY43" fmla="*/ 1295170 h 4697506"/>
                      <a:gd name="connsiteX44" fmla="*/ 0 w 10972800"/>
                      <a:gd name="connsiteY44" fmla="*/ 765022 h 4697506"/>
                      <a:gd name="connsiteX45" fmla="*/ 0 w 10972800"/>
                      <a:gd name="connsiteY45" fmla="*/ 0 h 469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972800" h="4697506" fill="none" extrusionOk="0">
                        <a:moveTo>
                          <a:pt x="0" y="0"/>
                        </a:moveTo>
                        <a:cubicBezTo>
                          <a:pt x="205295" y="-6466"/>
                          <a:pt x="281609" y="-18209"/>
                          <a:pt x="466344" y="0"/>
                        </a:cubicBezTo>
                        <a:cubicBezTo>
                          <a:pt x="651079" y="18209"/>
                          <a:pt x="810246" y="-7961"/>
                          <a:pt x="1042416" y="0"/>
                        </a:cubicBezTo>
                        <a:cubicBezTo>
                          <a:pt x="1274586" y="7961"/>
                          <a:pt x="1467752" y="31311"/>
                          <a:pt x="1837944" y="0"/>
                        </a:cubicBezTo>
                        <a:cubicBezTo>
                          <a:pt x="2208136" y="-31311"/>
                          <a:pt x="2255011" y="-29376"/>
                          <a:pt x="2633472" y="0"/>
                        </a:cubicBezTo>
                        <a:cubicBezTo>
                          <a:pt x="3011933" y="29376"/>
                          <a:pt x="2991700" y="1614"/>
                          <a:pt x="3319272" y="0"/>
                        </a:cubicBezTo>
                        <a:cubicBezTo>
                          <a:pt x="3646844" y="-1614"/>
                          <a:pt x="3774987" y="24461"/>
                          <a:pt x="4114800" y="0"/>
                        </a:cubicBezTo>
                        <a:cubicBezTo>
                          <a:pt x="4454613" y="-24461"/>
                          <a:pt x="4639031" y="-19379"/>
                          <a:pt x="4910328" y="0"/>
                        </a:cubicBezTo>
                        <a:cubicBezTo>
                          <a:pt x="5181625" y="19379"/>
                          <a:pt x="5440144" y="-22813"/>
                          <a:pt x="5596128" y="0"/>
                        </a:cubicBezTo>
                        <a:cubicBezTo>
                          <a:pt x="5752112" y="22813"/>
                          <a:pt x="5862152" y="-20951"/>
                          <a:pt x="6062472" y="0"/>
                        </a:cubicBezTo>
                        <a:cubicBezTo>
                          <a:pt x="6262792" y="20951"/>
                          <a:pt x="6781205" y="-43535"/>
                          <a:pt x="6967728" y="0"/>
                        </a:cubicBezTo>
                        <a:cubicBezTo>
                          <a:pt x="7154251" y="43535"/>
                          <a:pt x="7229201" y="8110"/>
                          <a:pt x="7324344" y="0"/>
                        </a:cubicBezTo>
                        <a:cubicBezTo>
                          <a:pt x="7419487" y="-8110"/>
                          <a:pt x="7700337" y="-26429"/>
                          <a:pt x="7900416" y="0"/>
                        </a:cubicBezTo>
                        <a:cubicBezTo>
                          <a:pt x="8100495" y="26429"/>
                          <a:pt x="8232421" y="6421"/>
                          <a:pt x="8476488" y="0"/>
                        </a:cubicBezTo>
                        <a:cubicBezTo>
                          <a:pt x="8720555" y="-6421"/>
                          <a:pt x="9037515" y="30560"/>
                          <a:pt x="9272016" y="0"/>
                        </a:cubicBezTo>
                        <a:cubicBezTo>
                          <a:pt x="9506517" y="-30560"/>
                          <a:pt x="9636918" y="22831"/>
                          <a:pt x="9738360" y="0"/>
                        </a:cubicBezTo>
                        <a:cubicBezTo>
                          <a:pt x="9839802" y="-22831"/>
                          <a:pt x="10601479" y="-8672"/>
                          <a:pt x="10972800" y="0"/>
                        </a:cubicBezTo>
                        <a:cubicBezTo>
                          <a:pt x="10940209" y="162841"/>
                          <a:pt x="10985670" y="566984"/>
                          <a:pt x="10972800" y="765022"/>
                        </a:cubicBezTo>
                        <a:cubicBezTo>
                          <a:pt x="10959930" y="963060"/>
                          <a:pt x="10991190" y="1057106"/>
                          <a:pt x="10972800" y="1295170"/>
                        </a:cubicBezTo>
                        <a:cubicBezTo>
                          <a:pt x="10954410" y="1533234"/>
                          <a:pt x="11003449" y="1675754"/>
                          <a:pt x="10972800" y="1919267"/>
                        </a:cubicBezTo>
                        <a:cubicBezTo>
                          <a:pt x="10942151" y="2162780"/>
                          <a:pt x="10997284" y="2305852"/>
                          <a:pt x="10972800" y="2684289"/>
                        </a:cubicBezTo>
                        <a:cubicBezTo>
                          <a:pt x="10948316" y="3062726"/>
                          <a:pt x="10957590" y="3090108"/>
                          <a:pt x="10972800" y="3308386"/>
                        </a:cubicBezTo>
                        <a:cubicBezTo>
                          <a:pt x="10988010" y="3526664"/>
                          <a:pt x="10950892" y="3664893"/>
                          <a:pt x="10972800" y="3979459"/>
                        </a:cubicBezTo>
                        <a:cubicBezTo>
                          <a:pt x="10994708" y="4294025"/>
                          <a:pt x="10970012" y="4475018"/>
                          <a:pt x="10972800" y="4697506"/>
                        </a:cubicBezTo>
                        <a:cubicBezTo>
                          <a:pt x="10797248" y="4714753"/>
                          <a:pt x="10523773" y="4667517"/>
                          <a:pt x="10287000" y="4697506"/>
                        </a:cubicBezTo>
                        <a:cubicBezTo>
                          <a:pt x="10050227" y="4727495"/>
                          <a:pt x="9566276" y="4679787"/>
                          <a:pt x="9381744" y="4697506"/>
                        </a:cubicBezTo>
                        <a:cubicBezTo>
                          <a:pt x="9197212" y="4715225"/>
                          <a:pt x="8806427" y="4658198"/>
                          <a:pt x="8586216" y="4697506"/>
                        </a:cubicBezTo>
                        <a:cubicBezTo>
                          <a:pt x="8366005" y="4736814"/>
                          <a:pt x="7931046" y="4671986"/>
                          <a:pt x="7680960" y="4697506"/>
                        </a:cubicBezTo>
                        <a:cubicBezTo>
                          <a:pt x="7430874" y="4723026"/>
                          <a:pt x="7146898" y="4675329"/>
                          <a:pt x="6995160" y="4697506"/>
                        </a:cubicBezTo>
                        <a:cubicBezTo>
                          <a:pt x="6843422" y="4719683"/>
                          <a:pt x="6555206" y="4672045"/>
                          <a:pt x="6309360" y="4697506"/>
                        </a:cubicBezTo>
                        <a:cubicBezTo>
                          <a:pt x="6063514" y="4722967"/>
                          <a:pt x="5764726" y="4700540"/>
                          <a:pt x="5623560" y="4697506"/>
                        </a:cubicBezTo>
                        <a:cubicBezTo>
                          <a:pt x="5482394" y="4694472"/>
                          <a:pt x="5230143" y="4724374"/>
                          <a:pt x="5047488" y="4697506"/>
                        </a:cubicBezTo>
                        <a:cubicBezTo>
                          <a:pt x="4864833" y="4670638"/>
                          <a:pt x="4617952" y="4690537"/>
                          <a:pt x="4361688" y="4697506"/>
                        </a:cubicBezTo>
                        <a:cubicBezTo>
                          <a:pt x="4105424" y="4704475"/>
                          <a:pt x="3821108" y="4687326"/>
                          <a:pt x="3456432" y="4697506"/>
                        </a:cubicBezTo>
                        <a:cubicBezTo>
                          <a:pt x="3091756" y="4707686"/>
                          <a:pt x="2882162" y="4708391"/>
                          <a:pt x="2660904" y="4697506"/>
                        </a:cubicBezTo>
                        <a:cubicBezTo>
                          <a:pt x="2439646" y="4686621"/>
                          <a:pt x="2329569" y="4703151"/>
                          <a:pt x="2084832" y="4697506"/>
                        </a:cubicBezTo>
                        <a:cubicBezTo>
                          <a:pt x="1840095" y="4691861"/>
                          <a:pt x="1888083" y="4707182"/>
                          <a:pt x="1728216" y="4697506"/>
                        </a:cubicBezTo>
                        <a:cubicBezTo>
                          <a:pt x="1568349" y="4687830"/>
                          <a:pt x="1115765" y="4703158"/>
                          <a:pt x="932688" y="4697506"/>
                        </a:cubicBezTo>
                        <a:cubicBezTo>
                          <a:pt x="749611" y="4691854"/>
                          <a:pt x="242609" y="4651815"/>
                          <a:pt x="0" y="4697506"/>
                        </a:cubicBezTo>
                        <a:cubicBezTo>
                          <a:pt x="25035" y="4399155"/>
                          <a:pt x="-8830" y="4273119"/>
                          <a:pt x="0" y="4073409"/>
                        </a:cubicBezTo>
                        <a:cubicBezTo>
                          <a:pt x="8830" y="3873699"/>
                          <a:pt x="-3640" y="3772088"/>
                          <a:pt x="0" y="3496287"/>
                        </a:cubicBezTo>
                        <a:cubicBezTo>
                          <a:pt x="3640" y="3220486"/>
                          <a:pt x="-22849" y="3100604"/>
                          <a:pt x="0" y="2825214"/>
                        </a:cubicBezTo>
                        <a:cubicBezTo>
                          <a:pt x="22849" y="2549824"/>
                          <a:pt x="-16180" y="2305845"/>
                          <a:pt x="0" y="2060192"/>
                        </a:cubicBezTo>
                        <a:cubicBezTo>
                          <a:pt x="16180" y="1814539"/>
                          <a:pt x="-25106" y="1659057"/>
                          <a:pt x="0" y="1295170"/>
                        </a:cubicBezTo>
                        <a:cubicBezTo>
                          <a:pt x="25106" y="931283"/>
                          <a:pt x="-13418" y="990796"/>
                          <a:pt x="0" y="765022"/>
                        </a:cubicBezTo>
                        <a:cubicBezTo>
                          <a:pt x="13418" y="539248"/>
                          <a:pt x="-18726" y="232894"/>
                          <a:pt x="0" y="0"/>
                        </a:cubicBezTo>
                        <a:close/>
                      </a:path>
                      <a:path w="10972800" h="4697506" stroke="0" extrusionOk="0">
                        <a:moveTo>
                          <a:pt x="0" y="0"/>
                        </a:moveTo>
                        <a:cubicBezTo>
                          <a:pt x="218469" y="-22307"/>
                          <a:pt x="264316" y="-703"/>
                          <a:pt x="466344" y="0"/>
                        </a:cubicBezTo>
                        <a:cubicBezTo>
                          <a:pt x="668372" y="703"/>
                          <a:pt x="998674" y="-16252"/>
                          <a:pt x="1152144" y="0"/>
                        </a:cubicBezTo>
                        <a:cubicBezTo>
                          <a:pt x="1305614" y="16252"/>
                          <a:pt x="1365769" y="17157"/>
                          <a:pt x="1508760" y="0"/>
                        </a:cubicBezTo>
                        <a:cubicBezTo>
                          <a:pt x="1651751" y="-17157"/>
                          <a:pt x="1793655" y="14411"/>
                          <a:pt x="1975104" y="0"/>
                        </a:cubicBezTo>
                        <a:cubicBezTo>
                          <a:pt x="2156553" y="-14411"/>
                          <a:pt x="2474495" y="-3109"/>
                          <a:pt x="2660904" y="0"/>
                        </a:cubicBezTo>
                        <a:cubicBezTo>
                          <a:pt x="2847313" y="3109"/>
                          <a:pt x="2936166" y="-12229"/>
                          <a:pt x="3017520" y="0"/>
                        </a:cubicBezTo>
                        <a:cubicBezTo>
                          <a:pt x="3098874" y="12229"/>
                          <a:pt x="3634163" y="34471"/>
                          <a:pt x="3922776" y="0"/>
                        </a:cubicBezTo>
                        <a:cubicBezTo>
                          <a:pt x="4211389" y="-34471"/>
                          <a:pt x="4264157" y="-23250"/>
                          <a:pt x="4498848" y="0"/>
                        </a:cubicBezTo>
                        <a:cubicBezTo>
                          <a:pt x="4733539" y="23250"/>
                          <a:pt x="4867602" y="8329"/>
                          <a:pt x="5074920" y="0"/>
                        </a:cubicBezTo>
                        <a:cubicBezTo>
                          <a:pt x="5282238" y="-8329"/>
                          <a:pt x="5290522" y="-9026"/>
                          <a:pt x="5431536" y="0"/>
                        </a:cubicBezTo>
                        <a:cubicBezTo>
                          <a:pt x="5572550" y="9026"/>
                          <a:pt x="5685761" y="-16613"/>
                          <a:pt x="5788152" y="0"/>
                        </a:cubicBezTo>
                        <a:cubicBezTo>
                          <a:pt x="5890543" y="16613"/>
                          <a:pt x="6280016" y="14587"/>
                          <a:pt x="6473952" y="0"/>
                        </a:cubicBezTo>
                        <a:cubicBezTo>
                          <a:pt x="6667888" y="-14587"/>
                          <a:pt x="6671647" y="15304"/>
                          <a:pt x="6830568" y="0"/>
                        </a:cubicBezTo>
                        <a:cubicBezTo>
                          <a:pt x="6989489" y="-15304"/>
                          <a:pt x="7351862" y="11395"/>
                          <a:pt x="7516368" y="0"/>
                        </a:cubicBezTo>
                        <a:cubicBezTo>
                          <a:pt x="7680874" y="-11395"/>
                          <a:pt x="8060311" y="1721"/>
                          <a:pt x="8202168" y="0"/>
                        </a:cubicBezTo>
                        <a:cubicBezTo>
                          <a:pt x="8344025" y="-1721"/>
                          <a:pt x="8498290" y="19329"/>
                          <a:pt x="8778240" y="0"/>
                        </a:cubicBezTo>
                        <a:cubicBezTo>
                          <a:pt x="9058190" y="-19329"/>
                          <a:pt x="9229201" y="5851"/>
                          <a:pt x="9464040" y="0"/>
                        </a:cubicBezTo>
                        <a:cubicBezTo>
                          <a:pt x="9698879" y="-5851"/>
                          <a:pt x="9898030" y="-5907"/>
                          <a:pt x="10259568" y="0"/>
                        </a:cubicBezTo>
                        <a:cubicBezTo>
                          <a:pt x="10621106" y="5907"/>
                          <a:pt x="10731862" y="-10973"/>
                          <a:pt x="10972800" y="0"/>
                        </a:cubicBezTo>
                        <a:cubicBezTo>
                          <a:pt x="10954589" y="307155"/>
                          <a:pt x="10979445" y="384647"/>
                          <a:pt x="10972800" y="624097"/>
                        </a:cubicBezTo>
                        <a:cubicBezTo>
                          <a:pt x="10966155" y="863547"/>
                          <a:pt x="10937758" y="1007765"/>
                          <a:pt x="10972800" y="1389120"/>
                        </a:cubicBezTo>
                        <a:cubicBezTo>
                          <a:pt x="11007842" y="1770475"/>
                          <a:pt x="10940402" y="1807406"/>
                          <a:pt x="10972800" y="2060192"/>
                        </a:cubicBezTo>
                        <a:cubicBezTo>
                          <a:pt x="11005198" y="2312978"/>
                          <a:pt x="10970259" y="2382710"/>
                          <a:pt x="10972800" y="2590339"/>
                        </a:cubicBezTo>
                        <a:cubicBezTo>
                          <a:pt x="10975341" y="2797968"/>
                          <a:pt x="10967999" y="3017471"/>
                          <a:pt x="10972800" y="3308386"/>
                        </a:cubicBezTo>
                        <a:cubicBezTo>
                          <a:pt x="10977601" y="3599301"/>
                          <a:pt x="10956394" y="3650526"/>
                          <a:pt x="10972800" y="3838533"/>
                        </a:cubicBezTo>
                        <a:cubicBezTo>
                          <a:pt x="10989206" y="4026540"/>
                          <a:pt x="10970601" y="4330899"/>
                          <a:pt x="10972800" y="4697506"/>
                        </a:cubicBezTo>
                        <a:cubicBezTo>
                          <a:pt x="10843180" y="4672301"/>
                          <a:pt x="10684421" y="4682468"/>
                          <a:pt x="10396728" y="4697506"/>
                        </a:cubicBezTo>
                        <a:cubicBezTo>
                          <a:pt x="10109035" y="4712544"/>
                          <a:pt x="10146162" y="4702645"/>
                          <a:pt x="9930384" y="4697506"/>
                        </a:cubicBezTo>
                        <a:cubicBezTo>
                          <a:pt x="9714606" y="4692367"/>
                          <a:pt x="9296717" y="4693217"/>
                          <a:pt x="9134856" y="4697506"/>
                        </a:cubicBezTo>
                        <a:cubicBezTo>
                          <a:pt x="8972995" y="4701795"/>
                          <a:pt x="8816453" y="4695942"/>
                          <a:pt x="8668512" y="4697506"/>
                        </a:cubicBezTo>
                        <a:cubicBezTo>
                          <a:pt x="8520571" y="4699070"/>
                          <a:pt x="8306144" y="4702792"/>
                          <a:pt x="8092440" y="4697506"/>
                        </a:cubicBezTo>
                        <a:cubicBezTo>
                          <a:pt x="7878736" y="4692220"/>
                          <a:pt x="7460945" y="4689961"/>
                          <a:pt x="7296912" y="4697506"/>
                        </a:cubicBezTo>
                        <a:cubicBezTo>
                          <a:pt x="7132879" y="4705051"/>
                          <a:pt x="6914074" y="4724049"/>
                          <a:pt x="6611112" y="4697506"/>
                        </a:cubicBezTo>
                        <a:cubicBezTo>
                          <a:pt x="6308150" y="4670963"/>
                          <a:pt x="6172651" y="4735317"/>
                          <a:pt x="5815584" y="4697506"/>
                        </a:cubicBezTo>
                        <a:cubicBezTo>
                          <a:pt x="5458517" y="4659695"/>
                          <a:pt x="5319213" y="4664380"/>
                          <a:pt x="5129784" y="4697506"/>
                        </a:cubicBezTo>
                        <a:cubicBezTo>
                          <a:pt x="4940355" y="4730632"/>
                          <a:pt x="4846163" y="4712403"/>
                          <a:pt x="4773168" y="4697506"/>
                        </a:cubicBezTo>
                        <a:cubicBezTo>
                          <a:pt x="4700173" y="4682609"/>
                          <a:pt x="4108882" y="4672786"/>
                          <a:pt x="3867912" y="4697506"/>
                        </a:cubicBezTo>
                        <a:cubicBezTo>
                          <a:pt x="3626942" y="4722226"/>
                          <a:pt x="3362246" y="4728396"/>
                          <a:pt x="3182112" y="4697506"/>
                        </a:cubicBezTo>
                        <a:cubicBezTo>
                          <a:pt x="3001978" y="4666616"/>
                          <a:pt x="2773865" y="4690808"/>
                          <a:pt x="2386584" y="4697506"/>
                        </a:cubicBezTo>
                        <a:cubicBezTo>
                          <a:pt x="1999303" y="4704204"/>
                          <a:pt x="2041328" y="4730526"/>
                          <a:pt x="1700784" y="4697506"/>
                        </a:cubicBezTo>
                        <a:cubicBezTo>
                          <a:pt x="1360240" y="4664486"/>
                          <a:pt x="1301251" y="4710192"/>
                          <a:pt x="1124712" y="4697506"/>
                        </a:cubicBezTo>
                        <a:cubicBezTo>
                          <a:pt x="948173" y="4684820"/>
                          <a:pt x="545221" y="4669060"/>
                          <a:pt x="0" y="4697506"/>
                        </a:cubicBezTo>
                        <a:cubicBezTo>
                          <a:pt x="26414" y="4525174"/>
                          <a:pt x="-12137" y="4277936"/>
                          <a:pt x="0" y="4120384"/>
                        </a:cubicBezTo>
                        <a:cubicBezTo>
                          <a:pt x="12137" y="3962832"/>
                          <a:pt x="-9347" y="3682135"/>
                          <a:pt x="0" y="3543262"/>
                        </a:cubicBezTo>
                        <a:cubicBezTo>
                          <a:pt x="9347" y="3404389"/>
                          <a:pt x="-26394" y="3173947"/>
                          <a:pt x="0" y="2825214"/>
                        </a:cubicBezTo>
                        <a:cubicBezTo>
                          <a:pt x="26394" y="2476481"/>
                          <a:pt x="4638" y="2475298"/>
                          <a:pt x="0" y="2295067"/>
                        </a:cubicBezTo>
                        <a:cubicBezTo>
                          <a:pt x="-4638" y="2114836"/>
                          <a:pt x="-10544" y="1981897"/>
                          <a:pt x="0" y="1717945"/>
                        </a:cubicBezTo>
                        <a:cubicBezTo>
                          <a:pt x="10544" y="1453993"/>
                          <a:pt x="-10605" y="1271063"/>
                          <a:pt x="0" y="1140823"/>
                        </a:cubicBezTo>
                        <a:cubicBezTo>
                          <a:pt x="10605" y="1010583"/>
                          <a:pt x="52038" y="47331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400" i="1" dirty="0">
                <a:solidFill>
                  <a:schemeClr val="bg1">
                    <a:lumMod val="75000"/>
                  </a:schemeClr>
                </a:solidFill>
                <a:latin typeface="Verdana" panose="020B0604030504040204" pitchFamily="34" charset="0"/>
                <a:ea typeface="Verdana" panose="020B0604030504040204" pitchFamily="34" charset="0"/>
              </a:rPr>
              <a:t>Indsæt et billede som ”bagsiden” </a:t>
            </a:r>
            <a:r>
              <a:rPr lang="da-DK" sz="1400" i="1">
                <a:solidFill>
                  <a:schemeClr val="bg1">
                    <a:lumMod val="75000"/>
                  </a:schemeClr>
                </a:solidFill>
                <a:latin typeface="Verdana" panose="020B0604030504040204" pitchFamily="34" charset="0"/>
                <a:ea typeface="Verdana" panose="020B0604030504040204" pitchFamily="34" charset="0"/>
              </a:rPr>
              <a:t>til rapporten.</a:t>
            </a:r>
            <a:endParaRPr lang="da-DK" sz="1400" i="1" dirty="0">
              <a:solidFill>
                <a:schemeClr val="bg1">
                  <a:lumMod val="75000"/>
                </a:schemeClr>
              </a:solidFill>
              <a:highlight>
                <a:srgbClr val="FFFF00"/>
              </a:highlight>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244176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53253636-D815-1E32-BB06-3C039395682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D2507A-0DA5-C8CB-B6D1-AA16343D24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FD2507A-0DA5-C8CB-B6D1-AA16343D24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B48A01-1227-2D12-76BE-E7FC5EA15EEF}"/>
              </a:ext>
            </a:extLst>
          </p:cNvPr>
          <p:cNvSpPr>
            <a:spLocks noGrp="1"/>
          </p:cNvSpPr>
          <p:nvPr>
            <p:ph type="title"/>
          </p:nvPr>
        </p:nvSpPr>
        <p:spPr>
          <a:xfrm>
            <a:off x="578069" y="654269"/>
            <a:ext cx="10515600" cy="831467"/>
          </a:xfrm>
        </p:spPr>
        <p:txBody>
          <a:bodyPr vert="horz">
            <a:normAutofit/>
          </a:bodyPr>
          <a:lstStyle/>
          <a:p>
            <a:r>
              <a:rPr lang="da-DK" sz="4000" b="1" dirty="0">
                <a:solidFill>
                  <a:schemeClr val="bg1"/>
                </a:solidFill>
                <a:latin typeface="Verdana" panose="020B0604030504040204" pitchFamily="34" charset="0"/>
                <a:ea typeface="Verdana" panose="020B0604030504040204" pitchFamily="34" charset="0"/>
              </a:rPr>
              <a:t>Forord</a:t>
            </a:r>
          </a:p>
        </p:txBody>
      </p:sp>
      <p:sp>
        <p:nvSpPr>
          <p:cNvPr id="5" name="Pladsholder til slidenummer 4">
            <a:extLst>
              <a:ext uri="{FF2B5EF4-FFF2-40B4-BE49-F238E27FC236}">
                <a16:creationId xmlns:a16="http://schemas.microsoft.com/office/drawing/2014/main" id="{45E62BAC-C559-9BDC-AECF-D77D131F795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Rounded Corners 3">
            <a:extLst>
              <a:ext uri="{FF2B5EF4-FFF2-40B4-BE49-F238E27FC236}">
                <a16:creationId xmlns:a16="http://schemas.microsoft.com/office/drawing/2014/main" id="{9758BA1B-F4D4-EFC7-93DF-61D09A23BF85}"/>
              </a:ext>
            </a:extLst>
          </p:cNvPr>
          <p:cNvSpPr/>
          <p:nvPr/>
        </p:nvSpPr>
        <p:spPr>
          <a:xfrm>
            <a:off x="6096000" y="1485736"/>
            <a:ext cx="5142379" cy="4405030"/>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3874669"/>
                      <a:gd name="connsiteY0" fmla="*/ 0 h 4627697"/>
                      <a:gd name="connsiteX1" fmla="*/ 0 w 3874669"/>
                      <a:gd name="connsiteY1" fmla="*/ 0 h 4627697"/>
                      <a:gd name="connsiteX2" fmla="*/ 684525 w 3874669"/>
                      <a:gd name="connsiteY2" fmla="*/ 0 h 4627697"/>
                      <a:gd name="connsiteX3" fmla="*/ 1214063 w 3874669"/>
                      <a:gd name="connsiteY3" fmla="*/ 0 h 4627697"/>
                      <a:gd name="connsiteX4" fmla="*/ 1821094 w 3874669"/>
                      <a:gd name="connsiteY4" fmla="*/ 0 h 4627697"/>
                      <a:gd name="connsiteX5" fmla="*/ 2544366 w 3874669"/>
                      <a:gd name="connsiteY5" fmla="*/ 0 h 4627697"/>
                      <a:gd name="connsiteX6" fmla="*/ 3190144 w 3874669"/>
                      <a:gd name="connsiteY6" fmla="*/ 0 h 4627697"/>
                      <a:gd name="connsiteX7" fmla="*/ 3874669 w 3874669"/>
                      <a:gd name="connsiteY7" fmla="*/ 0 h 4627697"/>
                      <a:gd name="connsiteX8" fmla="*/ 3874669 w 3874669"/>
                      <a:gd name="connsiteY8" fmla="*/ 0 h 4627697"/>
                      <a:gd name="connsiteX9" fmla="*/ 3874669 w 3874669"/>
                      <a:gd name="connsiteY9" fmla="*/ 614823 h 4627697"/>
                      <a:gd name="connsiteX10" fmla="*/ 3874669 w 3874669"/>
                      <a:gd name="connsiteY10" fmla="*/ 1183368 h 4627697"/>
                      <a:gd name="connsiteX11" fmla="*/ 3874669 w 3874669"/>
                      <a:gd name="connsiteY11" fmla="*/ 1890745 h 4627697"/>
                      <a:gd name="connsiteX12" fmla="*/ 3874669 w 3874669"/>
                      <a:gd name="connsiteY12" fmla="*/ 2459290 h 4627697"/>
                      <a:gd name="connsiteX13" fmla="*/ 3874669 w 3874669"/>
                      <a:gd name="connsiteY13" fmla="*/ 2981559 h 4627697"/>
                      <a:gd name="connsiteX14" fmla="*/ 3874669 w 3874669"/>
                      <a:gd name="connsiteY14" fmla="*/ 3550105 h 4627697"/>
                      <a:gd name="connsiteX15" fmla="*/ 3874669 w 3874669"/>
                      <a:gd name="connsiteY15" fmla="*/ 4627697 h 4627697"/>
                      <a:gd name="connsiteX16" fmla="*/ 3874669 w 3874669"/>
                      <a:gd name="connsiteY16" fmla="*/ 4627697 h 4627697"/>
                      <a:gd name="connsiteX17" fmla="*/ 3228891 w 3874669"/>
                      <a:gd name="connsiteY17" fmla="*/ 4627697 h 4627697"/>
                      <a:gd name="connsiteX18" fmla="*/ 2583113 w 3874669"/>
                      <a:gd name="connsiteY18" fmla="*/ 4627697 h 4627697"/>
                      <a:gd name="connsiteX19" fmla="*/ 2014828 w 3874669"/>
                      <a:gd name="connsiteY19" fmla="*/ 4627697 h 4627697"/>
                      <a:gd name="connsiteX20" fmla="*/ 1369050 w 3874669"/>
                      <a:gd name="connsiteY20" fmla="*/ 4627697 h 4627697"/>
                      <a:gd name="connsiteX21" fmla="*/ 723272 w 3874669"/>
                      <a:gd name="connsiteY21" fmla="*/ 4627697 h 4627697"/>
                      <a:gd name="connsiteX22" fmla="*/ 0 w 3874669"/>
                      <a:gd name="connsiteY22" fmla="*/ 4627697 h 4627697"/>
                      <a:gd name="connsiteX23" fmla="*/ 0 w 3874669"/>
                      <a:gd name="connsiteY23" fmla="*/ 4627697 h 4627697"/>
                      <a:gd name="connsiteX24" fmla="*/ 0 w 3874669"/>
                      <a:gd name="connsiteY24" fmla="*/ 3966597 h 4627697"/>
                      <a:gd name="connsiteX25" fmla="*/ 0 w 3874669"/>
                      <a:gd name="connsiteY25" fmla="*/ 3351775 h 4627697"/>
                      <a:gd name="connsiteX26" fmla="*/ 0 w 3874669"/>
                      <a:gd name="connsiteY26" fmla="*/ 2690675 h 4627697"/>
                      <a:gd name="connsiteX27" fmla="*/ 0 w 3874669"/>
                      <a:gd name="connsiteY27" fmla="*/ 1983299 h 4627697"/>
                      <a:gd name="connsiteX28" fmla="*/ 0 w 3874669"/>
                      <a:gd name="connsiteY28" fmla="*/ 1275922 h 4627697"/>
                      <a:gd name="connsiteX29" fmla="*/ 0 w 3874669"/>
                      <a:gd name="connsiteY29" fmla="*/ 568546 h 4627697"/>
                      <a:gd name="connsiteX30" fmla="*/ 0 w 3874669"/>
                      <a:gd name="connsiteY30" fmla="*/ 0 h 462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874669" h="4627697" fill="none" extrusionOk="0">
                        <a:moveTo>
                          <a:pt x="0" y="0"/>
                        </a:moveTo>
                        <a:lnTo>
                          <a:pt x="0" y="0"/>
                        </a:lnTo>
                        <a:cubicBezTo>
                          <a:pt x="225766" y="29153"/>
                          <a:pt x="349719" y="2483"/>
                          <a:pt x="684525" y="0"/>
                        </a:cubicBezTo>
                        <a:cubicBezTo>
                          <a:pt x="1019331" y="-2483"/>
                          <a:pt x="1087442" y="683"/>
                          <a:pt x="1214063" y="0"/>
                        </a:cubicBezTo>
                        <a:cubicBezTo>
                          <a:pt x="1340684" y="-683"/>
                          <a:pt x="1576050" y="-12071"/>
                          <a:pt x="1821094" y="0"/>
                        </a:cubicBezTo>
                        <a:cubicBezTo>
                          <a:pt x="2066138" y="12071"/>
                          <a:pt x="2239307" y="-20086"/>
                          <a:pt x="2544366" y="0"/>
                        </a:cubicBezTo>
                        <a:cubicBezTo>
                          <a:pt x="2849425" y="20086"/>
                          <a:pt x="3016767" y="495"/>
                          <a:pt x="3190144" y="0"/>
                        </a:cubicBezTo>
                        <a:cubicBezTo>
                          <a:pt x="3363521" y="-495"/>
                          <a:pt x="3532521" y="-31645"/>
                          <a:pt x="3874669" y="0"/>
                        </a:cubicBezTo>
                        <a:lnTo>
                          <a:pt x="3874669" y="0"/>
                        </a:lnTo>
                        <a:cubicBezTo>
                          <a:pt x="3890810" y="223185"/>
                          <a:pt x="3889295" y="349647"/>
                          <a:pt x="3874669" y="614823"/>
                        </a:cubicBezTo>
                        <a:cubicBezTo>
                          <a:pt x="3860043" y="879999"/>
                          <a:pt x="3863496" y="970370"/>
                          <a:pt x="3874669" y="1183368"/>
                        </a:cubicBezTo>
                        <a:cubicBezTo>
                          <a:pt x="3885842" y="1396367"/>
                          <a:pt x="3907055" y="1665969"/>
                          <a:pt x="3874669" y="1890745"/>
                        </a:cubicBezTo>
                        <a:cubicBezTo>
                          <a:pt x="3842283" y="2115521"/>
                          <a:pt x="3872968" y="2297690"/>
                          <a:pt x="3874669" y="2459290"/>
                        </a:cubicBezTo>
                        <a:cubicBezTo>
                          <a:pt x="3876370" y="2620890"/>
                          <a:pt x="3854819" y="2756024"/>
                          <a:pt x="3874669" y="2981559"/>
                        </a:cubicBezTo>
                        <a:cubicBezTo>
                          <a:pt x="3894519" y="3207094"/>
                          <a:pt x="3851672" y="3388555"/>
                          <a:pt x="3874669" y="3550105"/>
                        </a:cubicBezTo>
                        <a:cubicBezTo>
                          <a:pt x="3897666" y="3711655"/>
                          <a:pt x="3895453" y="4248815"/>
                          <a:pt x="3874669" y="4627697"/>
                        </a:cubicBezTo>
                        <a:lnTo>
                          <a:pt x="3874669" y="4627697"/>
                        </a:lnTo>
                        <a:cubicBezTo>
                          <a:pt x="3603714" y="4616679"/>
                          <a:pt x="3488935" y="4595449"/>
                          <a:pt x="3228891" y="4627697"/>
                        </a:cubicBezTo>
                        <a:cubicBezTo>
                          <a:pt x="2968847" y="4659945"/>
                          <a:pt x="2845850" y="4651063"/>
                          <a:pt x="2583113" y="4627697"/>
                        </a:cubicBezTo>
                        <a:cubicBezTo>
                          <a:pt x="2320376" y="4604331"/>
                          <a:pt x="2184549" y="4649554"/>
                          <a:pt x="2014828" y="4627697"/>
                        </a:cubicBezTo>
                        <a:cubicBezTo>
                          <a:pt x="1845107" y="4605840"/>
                          <a:pt x="1623089" y="4634008"/>
                          <a:pt x="1369050" y="4627697"/>
                        </a:cubicBezTo>
                        <a:cubicBezTo>
                          <a:pt x="1115011" y="4621386"/>
                          <a:pt x="945536" y="4632486"/>
                          <a:pt x="723272" y="4627697"/>
                        </a:cubicBezTo>
                        <a:cubicBezTo>
                          <a:pt x="501008" y="4622908"/>
                          <a:pt x="313158" y="4596272"/>
                          <a:pt x="0" y="4627697"/>
                        </a:cubicBezTo>
                        <a:lnTo>
                          <a:pt x="0" y="4627697"/>
                        </a:lnTo>
                        <a:cubicBezTo>
                          <a:pt x="-1337" y="4444512"/>
                          <a:pt x="20316" y="4179595"/>
                          <a:pt x="0" y="3966597"/>
                        </a:cubicBezTo>
                        <a:cubicBezTo>
                          <a:pt x="-20316" y="3753599"/>
                          <a:pt x="12508" y="3489982"/>
                          <a:pt x="0" y="3351775"/>
                        </a:cubicBezTo>
                        <a:cubicBezTo>
                          <a:pt x="-12508" y="3213568"/>
                          <a:pt x="25917" y="3010318"/>
                          <a:pt x="0" y="2690675"/>
                        </a:cubicBezTo>
                        <a:cubicBezTo>
                          <a:pt x="-25917" y="2371032"/>
                          <a:pt x="10755" y="2126844"/>
                          <a:pt x="0" y="1983299"/>
                        </a:cubicBezTo>
                        <a:cubicBezTo>
                          <a:pt x="-10755" y="1839754"/>
                          <a:pt x="-29986" y="1598345"/>
                          <a:pt x="0" y="1275922"/>
                        </a:cubicBezTo>
                        <a:cubicBezTo>
                          <a:pt x="29986" y="953499"/>
                          <a:pt x="-26888" y="862457"/>
                          <a:pt x="0" y="568546"/>
                        </a:cubicBezTo>
                        <a:cubicBezTo>
                          <a:pt x="26888" y="274635"/>
                          <a:pt x="3582" y="224812"/>
                          <a:pt x="0" y="0"/>
                        </a:cubicBezTo>
                        <a:close/>
                      </a:path>
                      <a:path w="3874669" h="4627697" stroke="0" extrusionOk="0">
                        <a:moveTo>
                          <a:pt x="0" y="0"/>
                        </a:moveTo>
                        <a:lnTo>
                          <a:pt x="0" y="0"/>
                        </a:lnTo>
                        <a:cubicBezTo>
                          <a:pt x="232386" y="-10087"/>
                          <a:pt x="417402" y="-26137"/>
                          <a:pt x="607031" y="0"/>
                        </a:cubicBezTo>
                        <a:cubicBezTo>
                          <a:pt x="796660" y="26137"/>
                          <a:pt x="969664" y="-18506"/>
                          <a:pt x="1136570" y="0"/>
                        </a:cubicBezTo>
                        <a:cubicBezTo>
                          <a:pt x="1303476" y="18506"/>
                          <a:pt x="1620461" y="34838"/>
                          <a:pt x="1859841" y="0"/>
                        </a:cubicBezTo>
                        <a:cubicBezTo>
                          <a:pt x="2099221" y="-34838"/>
                          <a:pt x="2268498" y="-24302"/>
                          <a:pt x="2466873" y="0"/>
                        </a:cubicBezTo>
                        <a:cubicBezTo>
                          <a:pt x="2665248" y="24302"/>
                          <a:pt x="2873346" y="10702"/>
                          <a:pt x="3073904" y="0"/>
                        </a:cubicBezTo>
                        <a:cubicBezTo>
                          <a:pt x="3274462" y="-10702"/>
                          <a:pt x="3697854" y="-1611"/>
                          <a:pt x="3874669" y="0"/>
                        </a:cubicBezTo>
                        <a:lnTo>
                          <a:pt x="3874669" y="0"/>
                        </a:lnTo>
                        <a:cubicBezTo>
                          <a:pt x="3892211" y="203829"/>
                          <a:pt x="3899901" y="436310"/>
                          <a:pt x="3874669" y="568546"/>
                        </a:cubicBezTo>
                        <a:cubicBezTo>
                          <a:pt x="3849437" y="700782"/>
                          <a:pt x="3883079" y="1042351"/>
                          <a:pt x="3874669" y="1229645"/>
                        </a:cubicBezTo>
                        <a:cubicBezTo>
                          <a:pt x="3866259" y="1416939"/>
                          <a:pt x="3897256" y="1620380"/>
                          <a:pt x="3874669" y="1798191"/>
                        </a:cubicBezTo>
                        <a:cubicBezTo>
                          <a:pt x="3852082" y="1976002"/>
                          <a:pt x="3880476" y="2249473"/>
                          <a:pt x="3874669" y="2366736"/>
                        </a:cubicBezTo>
                        <a:cubicBezTo>
                          <a:pt x="3868862" y="2483999"/>
                          <a:pt x="3897873" y="2716604"/>
                          <a:pt x="3874669" y="3027836"/>
                        </a:cubicBezTo>
                        <a:cubicBezTo>
                          <a:pt x="3851465" y="3339068"/>
                          <a:pt x="3869765" y="3385288"/>
                          <a:pt x="3874669" y="3735213"/>
                        </a:cubicBezTo>
                        <a:cubicBezTo>
                          <a:pt x="3879573" y="4085138"/>
                          <a:pt x="3860267" y="4415426"/>
                          <a:pt x="3874669" y="4627697"/>
                        </a:cubicBezTo>
                        <a:lnTo>
                          <a:pt x="3874669" y="4627697"/>
                        </a:lnTo>
                        <a:cubicBezTo>
                          <a:pt x="3693391" y="4628490"/>
                          <a:pt x="3404851" y="4655353"/>
                          <a:pt x="3228891" y="4627697"/>
                        </a:cubicBezTo>
                        <a:cubicBezTo>
                          <a:pt x="3052931" y="4600041"/>
                          <a:pt x="2870956" y="4621038"/>
                          <a:pt x="2660606" y="4627697"/>
                        </a:cubicBezTo>
                        <a:cubicBezTo>
                          <a:pt x="2450256" y="4634356"/>
                          <a:pt x="2314223" y="4615190"/>
                          <a:pt x="2014828" y="4627697"/>
                        </a:cubicBezTo>
                        <a:cubicBezTo>
                          <a:pt x="1715433" y="4640204"/>
                          <a:pt x="1450782" y="4649951"/>
                          <a:pt x="1291556" y="4627697"/>
                        </a:cubicBezTo>
                        <a:cubicBezTo>
                          <a:pt x="1132330" y="4605443"/>
                          <a:pt x="853462" y="4632125"/>
                          <a:pt x="645778" y="4627697"/>
                        </a:cubicBezTo>
                        <a:cubicBezTo>
                          <a:pt x="438094" y="4623269"/>
                          <a:pt x="187459" y="4598025"/>
                          <a:pt x="0" y="4627697"/>
                        </a:cubicBezTo>
                        <a:lnTo>
                          <a:pt x="0" y="4627697"/>
                        </a:lnTo>
                        <a:cubicBezTo>
                          <a:pt x="-16806" y="4483299"/>
                          <a:pt x="20331" y="4338510"/>
                          <a:pt x="0" y="4059151"/>
                        </a:cubicBezTo>
                        <a:cubicBezTo>
                          <a:pt x="-20331" y="3779792"/>
                          <a:pt x="9823" y="3727370"/>
                          <a:pt x="0" y="3444329"/>
                        </a:cubicBezTo>
                        <a:cubicBezTo>
                          <a:pt x="-9823" y="3161288"/>
                          <a:pt x="-20830" y="2925877"/>
                          <a:pt x="0" y="2690675"/>
                        </a:cubicBezTo>
                        <a:cubicBezTo>
                          <a:pt x="20830" y="2455473"/>
                          <a:pt x="-16618" y="2163750"/>
                          <a:pt x="0" y="2029576"/>
                        </a:cubicBezTo>
                        <a:cubicBezTo>
                          <a:pt x="16618" y="1895402"/>
                          <a:pt x="-26004" y="1677479"/>
                          <a:pt x="0" y="1414753"/>
                        </a:cubicBezTo>
                        <a:cubicBezTo>
                          <a:pt x="26004" y="1152027"/>
                          <a:pt x="-6407" y="1037151"/>
                          <a:pt x="0" y="892484"/>
                        </a:cubicBezTo>
                        <a:cubicBezTo>
                          <a:pt x="6407" y="747817"/>
                          <a:pt x="35805" y="412294"/>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dirty="0">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4" name="Tekstfelt 7">
            <a:extLst>
              <a:ext uri="{FF2B5EF4-FFF2-40B4-BE49-F238E27FC236}">
                <a16:creationId xmlns:a16="http://schemas.microsoft.com/office/drawing/2014/main" id="{F9A58077-C30B-99E2-F9F7-3547FA71BDBE}"/>
              </a:ext>
            </a:extLst>
          </p:cNvPr>
          <p:cNvSpPr txBox="1"/>
          <p:nvPr/>
        </p:nvSpPr>
        <p:spPr>
          <a:xfrm>
            <a:off x="578069" y="4526605"/>
            <a:ext cx="2156422" cy="1677126"/>
          </a:xfrm>
          <a:prstGeom prst="rect">
            <a:avLst/>
          </a:prstGeom>
          <a:noFill/>
        </p:spPr>
        <p:txBody>
          <a:bodyPr wrap="square" rtlCol="0" anchor="b">
            <a:spAutoFit/>
          </a:bodyPr>
          <a:lstStyle/>
          <a:p>
            <a:pPr lvl="0">
              <a:lnSpc>
                <a:spcPct val="120000"/>
              </a:lnSpc>
            </a:pPr>
            <a:r>
              <a:rPr lang="da-DK" sz="9600" b="1" dirty="0">
                <a:solidFill>
                  <a:schemeClr val="bg1"/>
                </a:solidFill>
                <a:latin typeface="Verdana" panose="020B0604030504040204" pitchFamily="34" charset="0"/>
                <a:ea typeface="Verdana" panose="020B0604030504040204" pitchFamily="34" charset="0"/>
                <a:cs typeface="Verdana" panose="020B0604030504040204" pitchFamily="34" charset="0"/>
              </a:rPr>
              <a:t>01</a:t>
            </a:r>
          </a:p>
        </p:txBody>
      </p:sp>
    </p:spTree>
    <p:extLst>
      <p:ext uri="{BB962C8B-B14F-4D97-AF65-F5344CB8AC3E}">
        <p14:creationId xmlns:p14="http://schemas.microsoft.com/office/powerpoint/2010/main" val="3899448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0E3EB"/>
        </a:solidFill>
        <a:effectLst/>
      </p:bgPr>
    </p:bg>
    <p:spTree>
      <p:nvGrpSpPr>
        <p:cNvPr id="1" name="">
          <a:extLst>
            <a:ext uri="{FF2B5EF4-FFF2-40B4-BE49-F238E27FC236}">
              <a16:creationId xmlns:a16="http://schemas.microsoft.com/office/drawing/2014/main" id="{8147B0D6-9929-621C-FFBC-4887DE2F39B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CE41F5-2C91-5FC2-1C57-EA985A5F7E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98CE41F5-2C91-5FC2-1C57-EA985A5F7E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6E73EF0-D35F-AC9B-7F7B-EA424A3D6DB6}"/>
              </a:ext>
            </a:extLst>
          </p:cNvPr>
          <p:cNvSpPr>
            <a:spLocks noGrp="1"/>
          </p:cNvSpPr>
          <p:nvPr>
            <p:ph type="title"/>
          </p:nvPr>
        </p:nvSpPr>
        <p:spPr>
          <a:xfrm>
            <a:off x="578069" y="654269"/>
            <a:ext cx="10515600" cy="831467"/>
          </a:xfrm>
        </p:spPr>
        <p:txBody>
          <a:bodyPr vert="horz">
            <a:normAutofit/>
          </a:bodyPr>
          <a:lstStyle/>
          <a:p>
            <a:r>
              <a:rPr lang="da-DK" sz="4000" dirty="0">
                <a:solidFill>
                  <a:srgbClr val="005850"/>
                </a:solidFill>
                <a:latin typeface="Verdana" panose="020B0604030504040204" pitchFamily="34" charset="0"/>
                <a:ea typeface="Verdana" panose="020B0604030504040204" pitchFamily="34" charset="0"/>
              </a:rPr>
              <a:t>Forord fra ledelsen</a:t>
            </a:r>
          </a:p>
        </p:txBody>
      </p:sp>
      <p:sp>
        <p:nvSpPr>
          <p:cNvPr id="5" name="Pladsholder til slidenummer 4">
            <a:extLst>
              <a:ext uri="{FF2B5EF4-FFF2-40B4-BE49-F238E27FC236}">
                <a16:creationId xmlns:a16="http://schemas.microsoft.com/office/drawing/2014/main" id="{08DF4C62-DE88-2310-8EEB-E33343DE7CD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9" name="Rektangel: afrundede hjørner 19">
            <a:extLst>
              <a:ext uri="{FF2B5EF4-FFF2-40B4-BE49-F238E27FC236}">
                <a16:creationId xmlns:a16="http://schemas.microsoft.com/office/drawing/2014/main" id="{AB3ACA24-024E-1A70-9B9A-279488D3754F}"/>
              </a:ext>
            </a:extLst>
          </p:cNvPr>
          <p:cNvSpPr/>
          <p:nvPr/>
        </p:nvSpPr>
        <p:spPr>
          <a:xfrm>
            <a:off x="0" y="1913029"/>
            <a:ext cx="12192000" cy="4290702"/>
          </a:xfrm>
          <a:prstGeom prst="roundRect">
            <a:avLst>
              <a:gd name="adj" fmla="val 0"/>
            </a:avLst>
          </a:prstGeom>
          <a:solidFill>
            <a:srgbClr val="E0E3E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52000" tIns="144000" rIns="91440" bIns="45720" rtlCol="0" anchor="t">
            <a:noAutofit/>
          </a:bodyPr>
          <a:lstStyle>
            <a:defPPr>
              <a:defRPr lang="en-DK"/>
            </a:defPPr>
            <a:lvl1pPr marL="0" algn="l" defTabSz="914400" rtl="0" eaLnBrk="1" latinLnBrk="0" hangingPunct="1">
              <a:defRPr sz="1800" kern="1200">
                <a:solidFill>
                  <a:srgbClr val="FFFFFF"/>
                </a:solidFill>
                <a:latin typeface="DM Sans 14pt"/>
                <a:ea typeface="+mn-ea"/>
                <a:cs typeface="+mn-cs"/>
              </a:defRPr>
            </a:lvl1pPr>
            <a:lvl2pPr marL="457200" algn="l" defTabSz="914400" rtl="0" eaLnBrk="1" latinLnBrk="0" hangingPunct="1">
              <a:defRPr sz="1800" kern="1200">
                <a:solidFill>
                  <a:srgbClr val="FFFFFF"/>
                </a:solidFill>
                <a:latin typeface="DM Sans 14pt"/>
                <a:ea typeface="+mn-ea"/>
                <a:cs typeface="+mn-cs"/>
              </a:defRPr>
            </a:lvl2pPr>
            <a:lvl3pPr marL="914400" algn="l" defTabSz="914400" rtl="0" eaLnBrk="1" latinLnBrk="0" hangingPunct="1">
              <a:defRPr sz="1800" kern="1200">
                <a:solidFill>
                  <a:srgbClr val="FFFFFF"/>
                </a:solidFill>
                <a:latin typeface="DM Sans 14pt"/>
                <a:ea typeface="+mn-ea"/>
                <a:cs typeface="+mn-cs"/>
              </a:defRPr>
            </a:lvl3pPr>
            <a:lvl4pPr marL="1371600" algn="l" defTabSz="914400" rtl="0" eaLnBrk="1" latinLnBrk="0" hangingPunct="1">
              <a:defRPr sz="1800" kern="1200">
                <a:solidFill>
                  <a:srgbClr val="FFFFFF"/>
                </a:solidFill>
                <a:latin typeface="DM Sans 14pt"/>
                <a:ea typeface="+mn-ea"/>
                <a:cs typeface="+mn-cs"/>
              </a:defRPr>
            </a:lvl4pPr>
            <a:lvl5pPr marL="1828800" algn="l" defTabSz="914400" rtl="0" eaLnBrk="1" latinLnBrk="0" hangingPunct="1">
              <a:defRPr sz="1800" kern="1200">
                <a:solidFill>
                  <a:srgbClr val="FFFFFF"/>
                </a:solidFill>
                <a:latin typeface="DM Sans 14pt"/>
                <a:ea typeface="+mn-ea"/>
                <a:cs typeface="+mn-cs"/>
              </a:defRPr>
            </a:lvl5pPr>
            <a:lvl6pPr marL="2286000" algn="l" defTabSz="914400" rtl="0" eaLnBrk="1" latinLnBrk="0" hangingPunct="1">
              <a:defRPr sz="1800" kern="1200">
                <a:solidFill>
                  <a:srgbClr val="FFFFFF"/>
                </a:solidFill>
                <a:latin typeface="DM Sans 14pt"/>
                <a:ea typeface="+mn-ea"/>
                <a:cs typeface="+mn-cs"/>
              </a:defRPr>
            </a:lvl6pPr>
            <a:lvl7pPr marL="2743200" algn="l" defTabSz="914400" rtl="0" eaLnBrk="1" latinLnBrk="0" hangingPunct="1">
              <a:defRPr sz="1800" kern="1200">
                <a:solidFill>
                  <a:srgbClr val="FFFFFF"/>
                </a:solidFill>
                <a:latin typeface="DM Sans 14pt"/>
                <a:ea typeface="+mn-ea"/>
                <a:cs typeface="+mn-cs"/>
              </a:defRPr>
            </a:lvl7pPr>
            <a:lvl8pPr marL="3200400" algn="l" defTabSz="914400" rtl="0" eaLnBrk="1" latinLnBrk="0" hangingPunct="1">
              <a:defRPr sz="1800" kern="1200">
                <a:solidFill>
                  <a:srgbClr val="FFFFFF"/>
                </a:solidFill>
                <a:latin typeface="DM Sans 14pt"/>
                <a:ea typeface="+mn-ea"/>
                <a:cs typeface="+mn-cs"/>
              </a:defRPr>
            </a:lvl8pPr>
            <a:lvl9pPr marL="3657600" algn="l" defTabSz="914400" rtl="0" eaLnBrk="1" latinLnBrk="0" hangingPunct="1">
              <a:defRPr sz="1800" kern="1200">
                <a:solidFill>
                  <a:srgbClr val="FFFFFF"/>
                </a:solidFill>
                <a:latin typeface="DM Sans 14pt"/>
                <a:ea typeface="+mn-ea"/>
                <a:cs typeface="+mn-cs"/>
              </a:defRPr>
            </a:lvl9pPr>
          </a:lstStyle>
          <a:p>
            <a:pPr algn="ctr" defTabSz="914218">
              <a:defRPr/>
            </a:pPr>
            <a:endParaRPr lang="da-DK" sz="1200" b="1">
              <a:solidFill>
                <a:srgbClr val="242E5E"/>
              </a:solidFill>
              <a:latin typeface="Verdana" panose="020B0604030504040204" pitchFamily="34" charset="0"/>
              <a:ea typeface="Verdana" panose="020B0604030504040204" pitchFamily="34" charset="0"/>
            </a:endParaRPr>
          </a:p>
          <a:p>
            <a:pPr lvl="0">
              <a:defRPr/>
            </a:pPr>
            <a:endParaRPr lang="da-DK" sz="1200" b="1">
              <a:solidFill>
                <a:prstClr val="black"/>
              </a:solidFill>
              <a:latin typeface="Verdana" panose="020B0604030504040204" pitchFamily="34" charset="0"/>
              <a:ea typeface="Verdana" panose="020B0604030504040204" pitchFamily="34" charset="0"/>
            </a:endParaRPr>
          </a:p>
          <a:p>
            <a:pPr algn="ctr" defTabSz="914218">
              <a:defRPr/>
            </a:pPr>
            <a:endParaRPr lang="da-DK" sz="1200" b="1">
              <a:solidFill>
                <a:srgbClr val="242E5E"/>
              </a:solidFill>
              <a:latin typeface="Verdana" panose="020B0604030504040204" pitchFamily="34" charset="0"/>
              <a:ea typeface="Verdana" panose="020B0604030504040204" pitchFamily="34" charset="0"/>
            </a:endParaRPr>
          </a:p>
        </p:txBody>
      </p:sp>
      <p:sp>
        <p:nvSpPr>
          <p:cNvPr id="23" name="Rectangle: Rounded Corners 3">
            <a:extLst>
              <a:ext uri="{FF2B5EF4-FFF2-40B4-BE49-F238E27FC236}">
                <a16:creationId xmlns:a16="http://schemas.microsoft.com/office/drawing/2014/main" id="{848CFB2A-210D-E922-A055-7F0DA2042EE4}"/>
              </a:ext>
            </a:extLst>
          </p:cNvPr>
          <p:cNvSpPr/>
          <p:nvPr/>
        </p:nvSpPr>
        <p:spPr>
          <a:xfrm>
            <a:off x="612418" y="1913029"/>
            <a:ext cx="3645568" cy="4290702"/>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3645568"/>
                      <a:gd name="connsiteY0" fmla="*/ 0 h 4290702"/>
                      <a:gd name="connsiteX1" fmla="*/ 0 w 3645568"/>
                      <a:gd name="connsiteY1" fmla="*/ 0 h 4290702"/>
                      <a:gd name="connsiteX2" fmla="*/ 644050 w 3645568"/>
                      <a:gd name="connsiteY2" fmla="*/ 0 h 4290702"/>
                      <a:gd name="connsiteX3" fmla="*/ 1142278 w 3645568"/>
                      <a:gd name="connsiteY3" fmla="*/ 0 h 4290702"/>
                      <a:gd name="connsiteX4" fmla="*/ 1713417 w 3645568"/>
                      <a:gd name="connsiteY4" fmla="*/ 0 h 4290702"/>
                      <a:gd name="connsiteX5" fmla="*/ 2393923 w 3645568"/>
                      <a:gd name="connsiteY5" fmla="*/ 0 h 4290702"/>
                      <a:gd name="connsiteX6" fmla="*/ 3001518 w 3645568"/>
                      <a:gd name="connsiteY6" fmla="*/ 0 h 4290702"/>
                      <a:gd name="connsiteX7" fmla="*/ 3645568 w 3645568"/>
                      <a:gd name="connsiteY7" fmla="*/ 0 h 4290702"/>
                      <a:gd name="connsiteX8" fmla="*/ 3645568 w 3645568"/>
                      <a:gd name="connsiteY8" fmla="*/ 0 h 4290702"/>
                      <a:gd name="connsiteX9" fmla="*/ 3645568 w 3645568"/>
                      <a:gd name="connsiteY9" fmla="*/ 570050 h 4290702"/>
                      <a:gd name="connsiteX10" fmla="*/ 3645568 w 3645568"/>
                      <a:gd name="connsiteY10" fmla="*/ 1097194 h 4290702"/>
                      <a:gd name="connsiteX11" fmla="*/ 3645568 w 3645568"/>
                      <a:gd name="connsiteY11" fmla="*/ 1753058 h 4290702"/>
                      <a:gd name="connsiteX12" fmla="*/ 3645568 w 3645568"/>
                      <a:gd name="connsiteY12" fmla="*/ 2280202 h 4290702"/>
                      <a:gd name="connsiteX13" fmla="*/ 3645568 w 3645568"/>
                      <a:gd name="connsiteY13" fmla="*/ 2764438 h 4290702"/>
                      <a:gd name="connsiteX14" fmla="*/ 3645568 w 3645568"/>
                      <a:gd name="connsiteY14" fmla="*/ 3291581 h 4290702"/>
                      <a:gd name="connsiteX15" fmla="*/ 3645568 w 3645568"/>
                      <a:gd name="connsiteY15" fmla="*/ 4290702 h 4290702"/>
                      <a:gd name="connsiteX16" fmla="*/ 3645568 w 3645568"/>
                      <a:gd name="connsiteY16" fmla="*/ 4290702 h 4290702"/>
                      <a:gd name="connsiteX17" fmla="*/ 3037973 w 3645568"/>
                      <a:gd name="connsiteY17" fmla="*/ 4290702 h 4290702"/>
                      <a:gd name="connsiteX18" fmla="*/ 2430379 w 3645568"/>
                      <a:gd name="connsiteY18" fmla="*/ 4290702 h 4290702"/>
                      <a:gd name="connsiteX19" fmla="*/ 1895695 w 3645568"/>
                      <a:gd name="connsiteY19" fmla="*/ 4290702 h 4290702"/>
                      <a:gd name="connsiteX20" fmla="*/ 1288101 w 3645568"/>
                      <a:gd name="connsiteY20" fmla="*/ 4290702 h 4290702"/>
                      <a:gd name="connsiteX21" fmla="*/ 680506 w 3645568"/>
                      <a:gd name="connsiteY21" fmla="*/ 4290702 h 4290702"/>
                      <a:gd name="connsiteX22" fmla="*/ 0 w 3645568"/>
                      <a:gd name="connsiteY22" fmla="*/ 4290702 h 4290702"/>
                      <a:gd name="connsiteX23" fmla="*/ 0 w 3645568"/>
                      <a:gd name="connsiteY23" fmla="*/ 4290702 h 4290702"/>
                      <a:gd name="connsiteX24" fmla="*/ 0 w 3645568"/>
                      <a:gd name="connsiteY24" fmla="*/ 3677745 h 4290702"/>
                      <a:gd name="connsiteX25" fmla="*/ 0 w 3645568"/>
                      <a:gd name="connsiteY25" fmla="*/ 3107694 h 4290702"/>
                      <a:gd name="connsiteX26" fmla="*/ 0 w 3645568"/>
                      <a:gd name="connsiteY26" fmla="*/ 2494737 h 4290702"/>
                      <a:gd name="connsiteX27" fmla="*/ 0 w 3645568"/>
                      <a:gd name="connsiteY27" fmla="*/ 1838872 h 4290702"/>
                      <a:gd name="connsiteX28" fmla="*/ 0 w 3645568"/>
                      <a:gd name="connsiteY28" fmla="*/ 1183008 h 4290702"/>
                      <a:gd name="connsiteX29" fmla="*/ 0 w 3645568"/>
                      <a:gd name="connsiteY29" fmla="*/ 527143 h 4290702"/>
                      <a:gd name="connsiteX30" fmla="*/ 0 w 3645568"/>
                      <a:gd name="connsiteY30" fmla="*/ 0 h 429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645568" h="4290702" fill="none" extrusionOk="0">
                        <a:moveTo>
                          <a:pt x="0" y="0"/>
                        </a:moveTo>
                        <a:lnTo>
                          <a:pt x="0" y="0"/>
                        </a:lnTo>
                        <a:cubicBezTo>
                          <a:pt x="206811" y="-26429"/>
                          <a:pt x="434566" y="-30469"/>
                          <a:pt x="644050" y="0"/>
                        </a:cubicBezTo>
                        <a:cubicBezTo>
                          <a:pt x="853534" y="30469"/>
                          <a:pt x="964114" y="-4729"/>
                          <a:pt x="1142278" y="0"/>
                        </a:cubicBezTo>
                        <a:cubicBezTo>
                          <a:pt x="1320442" y="4729"/>
                          <a:pt x="1514809" y="10864"/>
                          <a:pt x="1713417" y="0"/>
                        </a:cubicBezTo>
                        <a:cubicBezTo>
                          <a:pt x="1912025" y="-10864"/>
                          <a:pt x="2097762" y="-25328"/>
                          <a:pt x="2393923" y="0"/>
                        </a:cubicBezTo>
                        <a:cubicBezTo>
                          <a:pt x="2690084" y="25328"/>
                          <a:pt x="2762705" y="-20498"/>
                          <a:pt x="3001518" y="0"/>
                        </a:cubicBezTo>
                        <a:cubicBezTo>
                          <a:pt x="3240332" y="20498"/>
                          <a:pt x="3514468" y="8269"/>
                          <a:pt x="3645568" y="0"/>
                        </a:cubicBezTo>
                        <a:lnTo>
                          <a:pt x="3645568" y="0"/>
                        </a:lnTo>
                        <a:cubicBezTo>
                          <a:pt x="3643286" y="225272"/>
                          <a:pt x="3626196" y="388742"/>
                          <a:pt x="3645568" y="570050"/>
                        </a:cubicBezTo>
                        <a:cubicBezTo>
                          <a:pt x="3664941" y="751358"/>
                          <a:pt x="3635292" y="904818"/>
                          <a:pt x="3645568" y="1097194"/>
                        </a:cubicBezTo>
                        <a:cubicBezTo>
                          <a:pt x="3655844" y="1289570"/>
                          <a:pt x="3671806" y="1490942"/>
                          <a:pt x="3645568" y="1753058"/>
                        </a:cubicBezTo>
                        <a:cubicBezTo>
                          <a:pt x="3619330" y="2015174"/>
                          <a:pt x="3661752" y="2087950"/>
                          <a:pt x="3645568" y="2280202"/>
                        </a:cubicBezTo>
                        <a:cubicBezTo>
                          <a:pt x="3629384" y="2472454"/>
                          <a:pt x="3640467" y="2577710"/>
                          <a:pt x="3645568" y="2764438"/>
                        </a:cubicBezTo>
                        <a:cubicBezTo>
                          <a:pt x="3650669" y="2951166"/>
                          <a:pt x="3638935" y="3178273"/>
                          <a:pt x="3645568" y="3291581"/>
                        </a:cubicBezTo>
                        <a:cubicBezTo>
                          <a:pt x="3652201" y="3404889"/>
                          <a:pt x="3688464" y="3847172"/>
                          <a:pt x="3645568" y="4290702"/>
                        </a:cubicBezTo>
                        <a:lnTo>
                          <a:pt x="3645568" y="4290702"/>
                        </a:lnTo>
                        <a:cubicBezTo>
                          <a:pt x="3434400" y="4313291"/>
                          <a:pt x="3329686" y="4292774"/>
                          <a:pt x="3037973" y="4290702"/>
                        </a:cubicBezTo>
                        <a:cubicBezTo>
                          <a:pt x="2746260" y="4288630"/>
                          <a:pt x="2601959" y="4294526"/>
                          <a:pt x="2430379" y="4290702"/>
                        </a:cubicBezTo>
                        <a:cubicBezTo>
                          <a:pt x="2258799" y="4286878"/>
                          <a:pt x="2131801" y="4309952"/>
                          <a:pt x="1895695" y="4290702"/>
                        </a:cubicBezTo>
                        <a:cubicBezTo>
                          <a:pt x="1659589" y="4271452"/>
                          <a:pt x="1507272" y="4309817"/>
                          <a:pt x="1288101" y="4290702"/>
                        </a:cubicBezTo>
                        <a:cubicBezTo>
                          <a:pt x="1068930" y="4271587"/>
                          <a:pt x="851635" y="4305345"/>
                          <a:pt x="680506" y="4290702"/>
                        </a:cubicBezTo>
                        <a:cubicBezTo>
                          <a:pt x="509378" y="4276059"/>
                          <a:pt x="221409" y="4285879"/>
                          <a:pt x="0" y="4290702"/>
                        </a:cubicBezTo>
                        <a:lnTo>
                          <a:pt x="0" y="4290702"/>
                        </a:lnTo>
                        <a:cubicBezTo>
                          <a:pt x="-18200" y="4020962"/>
                          <a:pt x="14834" y="3824280"/>
                          <a:pt x="0" y="3677745"/>
                        </a:cubicBezTo>
                        <a:cubicBezTo>
                          <a:pt x="-14834" y="3531210"/>
                          <a:pt x="-5771" y="3289071"/>
                          <a:pt x="0" y="3107694"/>
                        </a:cubicBezTo>
                        <a:cubicBezTo>
                          <a:pt x="5771" y="2926317"/>
                          <a:pt x="24207" y="2745081"/>
                          <a:pt x="0" y="2494737"/>
                        </a:cubicBezTo>
                        <a:cubicBezTo>
                          <a:pt x="-24207" y="2244393"/>
                          <a:pt x="17741" y="1976287"/>
                          <a:pt x="0" y="1838872"/>
                        </a:cubicBezTo>
                        <a:cubicBezTo>
                          <a:pt x="-17741" y="1701458"/>
                          <a:pt x="31466" y="1382859"/>
                          <a:pt x="0" y="1183008"/>
                        </a:cubicBezTo>
                        <a:cubicBezTo>
                          <a:pt x="-31466" y="983157"/>
                          <a:pt x="-9224" y="693954"/>
                          <a:pt x="0" y="527143"/>
                        </a:cubicBezTo>
                        <a:cubicBezTo>
                          <a:pt x="9224" y="360333"/>
                          <a:pt x="20110" y="193625"/>
                          <a:pt x="0" y="0"/>
                        </a:cubicBezTo>
                        <a:close/>
                      </a:path>
                      <a:path w="3645568" h="4290702" stroke="0" extrusionOk="0">
                        <a:moveTo>
                          <a:pt x="0" y="0"/>
                        </a:moveTo>
                        <a:lnTo>
                          <a:pt x="0" y="0"/>
                        </a:lnTo>
                        <a:cubicBezTo>
                          <a:pt x="145331" y="-9583"/>
                          <a:pt x="299780" y="25617"/>
                          <a:pt x="571139" y="0"/>
                        </a:cubicBezTo>
                        <a:cubicBezTo>
                          <a:pt x="842498" y="-25617"/>
                          <a:pt x="946064" y="-24141"/>
                          <a:pt x="1069367" y="0"/>
                        </a:cubicBezTo>
                        <a:cubicBezTo>
                          <a:pt x="1192670" y="24141"/>
                          <a:pt x="1591478" y="18063"/>
                          <a:pt x="1749873" y="0"/>
                        </a:cubicBezTo>
                        <a:cubicBezTo>
                          <a:pt x="1908268" y="-18063"/>
                          <a:pt x="2037960" y="-19043"/>
                          <a:pt x="2321012" y="0"/>
                        </a:cubicBezTo>
                        <a:cubicBezTo>
                          <a:pt x="2604064" y="19043"/>
                          <a:pt x="2610267" y="-10752"/>
                          <a:pt x="2892151" y="0"/>
                        </a:cubicBezTo>
                        <a:cubicBezTo>
                          <a:pt x="3174035" y="10752"/>
                          <a:pt x="3278635" y="-34917"/>
                          <a:pt x="3645568" y="0"/>
                        </a:cubicBezTo>
                        <a:lnTo>
                          <a:pt x="3645568" y="0"/>
                        </a:lnTo>
                        <a:cubicBezTo>
                          <a:pt x="3647278" y="159739"/>
                          <a:pt x="3638839" y="274486"/>
                          <a:pt x="3645568" y="527143"/>
                        </a:cubicBezTo>
                        <a:cubicBezTo>
                          <a:pt x="3652297" y="779800"/>
                          <a:pt x="3661131" y="878917"/>
                          <a:pt x="3645568" y="1140101"/>
                        </a:cubicBezTo>
                        <a:cubicBezTo>
                          <a:pt x="3630005" y="1401285"/>
                          <a:pt x="3621304" y="1440451"/>
                          <a:pt x="3645568" y="1667244"/>
                        </a:cubicBezTo>
                        <a:cubicBezTo>
                          <a:pt x="3669832" y="1894037"/>
                          <a:pt x="3655119" y="1937329"/>
                          <a:pt x="3645568" y="2194388"/>
                        </a:cubicBezTo>
                        <a:cubicBezTo>
                          <a:pt x="3636017" y="2451447"/>
                          <a:pt x="3645579" y="2675287"/>
                          <a:pt x="3645568" y="2807345"/>
                        </a:cubicBezTo>
                        <a:cubicBezTo>
                          <a:pt x="3645557" y="2939403"/>
                          <a:pt x="3625424" y="3266067"/>
                          <a:pt x="3645568" y="3463209"/>
                        </a:cubicBezTo>
                        <a:cubicBezTo>
                          <a:pt x="3665712" y="3660351"/>
                          <a:pt x="3607150" y="4091807"/>
                          <a:pt x="3645568" y="4290702"/>
                        </a:cubicBezTo>
                        <a:lnTo>
                          <a:pt x="3645568" y="4290702"/>
                        </a:lnTo>
                        <a:cubicBezTo>
                          <a:pt x="3432463" y="4293813"/>
                          <a:pt x="3225974" y="4304110"/>
                          <a:pt x="3037973" y="4290702"/>
                        </a:cubicBezTo>
                        <a:cubicBezTo>
                          <a:pt x="2849973" y="4277294"/>
                          <a:pt x="2769556" y="4276344"/>
                          <a:pt x="2503290" y="4290702"/>
                        </a:cubicBezTo>
                        <a:cubicBezTo>
                          <a:pt x="2237024" y="4305060"/>
                          <a:pt x="2030170" y="4314786"/>
                          <a:pt x="1895695" y="4290702"/>
                        </a:cubicBezTo>
                        <a:cubicBezTo>
                          <a:pt x="1761220" y="4266618"/>
                          <a:pt x="1545965" y="4306933"/>
                          <a:pt x="1215189" y="4290702"/>
                        </a:cubicBezTo>
                        <a:cubicBezTo>
                          <a:pt x="884413" y="4274471"/>
                          <a:pt x="809366" y="4269652"/>
                          <a:pt x="607595" y="4290702"/>
                        </a:cubicBezTo>
                        <a:cubicBezTo>
                          <a:pt x="405824" y="4311752"/>
                          <a:pt x="221607" y="4319126"/>
                          <a:pt x="0" y="4290702"/>
                        </a:cubicBezTo>
                        <a:lnTo>
                          <a:pt x="0" y="4290702"/>
                        </a:lnTo>
                        <a:cubicBezTo>
                          <a:pt x="25886" y="4042493"/>
                          <a:pt x="4928" y="3965091"/>
                          <a:pt x="0" y="3763559"/>
                        </a:cubicBezTo>
                        <a:cubicBezTo>
                          <a:pt x="-4928" y="3562027"/>
                          <a:pt x="5296" y="3447023"/>
                          <a:pt x="0" y="3193508"/>
                        </a:cubicBezTo>
                        <a:cubicBezTo>
                          <a:pt x="-5296" y="2939993"/>
                          <a:pt x="2546" y="2758847"/>
                          <a:pt x="0" y="2494737"/>
                        </a:cubicBezTo>
                        <a:cubicBezTo>
                          <a:pt x="-2546" y="2230627"/>
                          <a:pt x="7236" y="2153397"/>
                          <a:pt x="0" y="1881779"/>
                        </a:cubicBezTo>
                        <a:cubicBezTo>
                          <a:pt x="-7236" y="1610161"/>
                          <a:pt x="19180" y="1525398"/>
                          <a:pt x="0" y="1311729"/>
                        </a:cubicBezTo>
                        <a:cubicBezTo>
                          <a:pt x="-19180" y="1098060"/>
                          <a:pt x="21977" y="927540"/>
                          <a:pt x="0" y="827493"/>
                        </a:cubicBezTo>
                        <a:cubicBezTo>
                          <a:pt x="-21977" y="727446"/>
                          <a:pt x="-6620" y="241661"/>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100" i="1" dirty="0">
                <a:solidFill>
                  <a:prstClr val="white">
                    <a:lumMod val="75000"/>
                  </a:prstClr>
                </a:solidFill>
                <a:latin typeface="Verdana" panose="020B0604030504040204" pitchFamily="34" charset="0"/>
                <a:ea typeface="Verdana" panose="020B0604030504040204" pitchFamily="34" charset="0"/>
              </a:rPr>
              <a:t>Indsæt et relevant billede fra boligorganisationen/eller et billede af ledelsen/direktøren.</a:t>
            </a:r>
          </a:p>
        </p:txBody>
      </p:sp>
      <p:sp>
        <p:nvSpPr>
          <p:cNvPr id="25" name="TextBox 24">
            <a:extLst>
              <a:ext uri="{FF2B5EF4-FFF2-40B4-BE49-F238E27FC236}">
                <a16:creationId xmlns:a16="http://schemas.microsoft.com/office/drawing/2014/main" id="{C0C1B9CD-33CC-C470-88D3-2E0948C1A8BA}"/>
              </a:ext>
            </a:extLst>
          </p:cNvPr>
          <p:cNvSpPr txBox="1"/>
          <p:nvPr/>
        </p:nvSpPr>
        <p:spPr>
          <a:xfrm>
            <a:off x="4523874" y="1913029"/>
            <a:ext cx="6990347" cy="4493538"/>
          </a:xfrm>
          <a:prstGeom prst="rect">
            <a:avLst/>
          </a:prstGeom>
          <a:noFill/>
        </p:spPr>
        <p:txBody>
          <a:bodyPr wrap="square">
            <a:spAutoFit/>
          </a:bodyPr>
          <a:lstStyle/>
          <a:p>
            <a:pPr lvl="0">
              <a:defRPr/>
            </a:pPr>
            <a:r>
              <a:rPr lang="da-DK" sz="1100" i="1" dirty="0">
                <a:solidFill>
                  <a:schemeClr val="bg1">
                    <a:lumMod val="50000"/>
                  </a:schemeClr>
                </a:solidFill>
                <a:latin typeface="Verdana" panose="020B0604030504040204" pitchFamily="34" charset="0"/>
                <a:ea typeface="Verdana" panose="020B0604030504040204" pitchFamily="34" charset="0"/>
              </a:rPr>
              <a:t>I denne sektion anbefales det at beskrive, hvordan jeres boligorganisation aktivt har arbejdet med ESG og implementeret bæredygtige initiativer. Det kan være værdifuldt at inkludere en oprigtig betragtning og refleksion fra boligorganisationens direktør eller ledelsesteam.</a:t>
            </a:r>
          </a:p>
          <a:p>
            <a:pPr lvl="0">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dirty="0">
                <a:solidFill>
                  <a:schemeClr val="bg1">
                    <a:lumMod val="50000"/>
                  </a:schemeClr>
                </a:solidFill>
                <a:latin typeface="Verdana" panose="020B0604030504040204" pitchFamily="34" charset="0"/>
                <a:ea typeface="Verdana" panose="020B0604030504040204" pitchFamily="34" charset="0"/>
              </a:rPr>
              <a:t>Hvad er jeres strategiske ståsted [mission, vision og værdigrundlag]?</a:t>
            </a:r>
          </a:p>
          <a:p>
            <a:pPr marL="171450" lvl="0" indent="-171450">
              <a:buFont typeface="Arial" panose="020B0604020202020204" pitchFamily="34" charset="0"/>
              <a:buChar char="•"/>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dirty="0">
                <a:solidFill>
                  <a:schemeClr val="bg1">
                    <a:lumMod val="50000"/>
                  </a:schemeClr>
                </a:solidFill>
                <a:latin typeface="Verdana" panose="020B0604030504040204" pitchFamily="34" charset="0"/>
                <a:ea typeface="Verdana" panose="020B0604030504040204" pitchFamily="34" charset="0"/>
              </a:rPr>
              <a:t>Hvad er jeres strategiske mål/vurdering af jeres samfundsmæssige ansvar (evt. bæredygtighedsstrategi, målsætninger mv.)?</a:t>
            </a:r>
          </a:p>
          <a:p>
            <a:pPr marL="171450" lvl="0" indent="-171450">
              <a:buFont typeface="Arial" panose="020B0604020202020204" pitchFamily="34" charset="0"/>
              <a:buChar char="•"/>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dirty="0">
                <a:solidFill>
                  <a:schemeClr val="bg1">
                    <a:lumMod val="50000"/>
                  </a:schemeClr>
                </a:solidFill>
                <a:latin typeface="Verdana" panose="020B0604030504040204" pitchFamily="34" charset="0"/>
                <a:ea typeface="Verdana" panose="020B0604030504040204" pitchFamily="34" charset="0"/>
              </a:rPr>
              <a:t>Hvordan har I arbejdet med ESG? Hvor står I ift. jeres strategiske mål og initiativer? </a:t>
            </a:r>
          </a:p>
          <a:p>
            <a:pPr marL="171450" lvl="0" indent="-171450">
              <a:buFont typeface="Arial" panose="020B0604020202020204" pitchFamily="34" charset="0"/>
              <a:buChar char="•"/>
              <a:defRPr/>
            </a:pPr>
            <a:endParaRPr lang="da-DK" sz="1100" i="1" dirty="0">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dirty="0">
                <a:solidFill>
                  <a:schemeClr val="bg1">
                    <a:lumMod val="50000"/>
                  </a:schemeClr>
                </a:solidFill>
                <a:latin typeface="Verdana" panose="020B0604030504040204" pitchFamily="34" charset="0"/>
                <a:ea typeface="Verdana" panose="020B0604030504040204" pitchFamily="34" charset="0"/>
              </a:rPr>
              <a:t>Hvad er fokus fremadrettet/i det kommende regnskabsår? Eks. nye initiativer, målsætninger mm.</a:t>
            </a:r>
            <a:endParaRPr lang="da-DK" sz="1100" dirty="0">
              <a:solidFill>
                <a:prstClr val="black"/>
              </a:solidFill>
              <a:latin typeface="Verdana" panose="020B0604030504040204" pitchFamily="34" charset="0"/>
              <a:ea typeface="Verdana" panose="020B0604030504040204" pitchFamily="34" charset="0"/>
            </a:endParaRPr>
          </a:p>
          <a:p>
            <a:pPr lvl="0">
              <a:defRPr/>
            </a:pPr>
            <a:endParaRPr lang="da-DK" sz="1100" dirty="0">
              <a:solidFill>
                <a:prstClr val="black"/>
              </a:solidFill>
              <a:latin typeface="Verdana" panose="020B0604030504040204" pitchFamily="34" charset="0"/>
              <a:ea typeface="Verdana" panose="020B0604030504040204" pitchFamily="34" charset="0"/>
            </a:endParaRPr>
          </a:p>
          <a:p>
            <a:pPr lvl="0">
              <a:defRPr/>
            </a:pPr>
            <a:endParaRPr lang="da-DK" sz="1100" dirty="0">
              <a:solidFill>
                <a:prstClr val="black"/>
              </a:solidFill>
              <a:latin typeface="Verdana" panose="020B0604030504040204" pitchFamily="34" charset="0"/>
              <a:ea typeface="Verdana" panose="020B0604030504040204" pitchFamily="34" charset="0"/>
            </a:endParaRPr>
          </a:p>
          <a:p>
            <a:pPr lvl="0">
              <a:defRPr/>
            </a:pPr>
            <a:endParaRPr lang="da-DK" sz="1100" dirty="0">
              <a:solidFill>
                <a:prstClr val="black"/>
              </a:solidFill>
              <a:latin typeface="Verdana" panose="020B0604030504040204" pitchFamily="34" charset="0"/>
              <a:ea typeface="Verdana" panose="020B0604030504040204" pitchFamily="34" charset="0"/>
            </a:endParaRPr>
          </a:p>
          <a:p>
            <a:pPr lvl="0">
              <a:defRPr/>
            </a:pPr>
            <a:endParaRPr lang="da-DK" sz="1100" dirty="0">
              <a:solidFill>
                <a:prstClr val="black"/>
              </a:solidFill>
              <a:latin typeface="Verdana" panose="020B0604030504040204" pitchFamily="34" charset="0"/>
              <a:ea typeface="Verdana" panose="020B0604030504040204" pitchFamily="34" charset="0"/>
            </a:endParaRPr>
          </a:p>
          <a:p>
            <a:pPr lvl="0">
              <a:defRPr/>
            </a:pPr>
            <a:endParaRPr lang="da-DK" sz="1100" dirty="0">
              <a:solidFill>
                <a:prstClr val="black"/>
              </a:solidFill>
              <a:latin typeface="Verdana" panose="020B0604030504040204" pitchFamily="34" charset="0"/>
              <a:ea typeface="Verdana" panose="020B0604030504040204" pitchFamily="34" charset="0"/>
            </a:endParaRPr>
          </a:p>
          <a:p>
            <a:pPr lvl="0">
              <a:defRPr/>
            </a:pPr>
            <a:endParaRPr lang="da-DK" sz="1100" dirty="0">
              <a:solidFill>
                <a:prstClr val="black"/>
              </a:solidFill>
              <a:latin typeface="Verdana" panose="020B0604030504040204" pitchFamily="34" charset="0"/>
              <a:ea typeface="Verdana" panose="020B0604030504040204" pitchFamily="34" charset="0"/>
            </a:endParaRPr>
          </a:p>
          <a:p>
            <a:pPr lvl="0">
              <a:defRPr/>
            </a:pPr>
            <a:endParaRPr lang="da-DK" sz="1100" dirty="0">
              <a:solidFill>
                <a:prstClr val="black"/>
              </a:solidFill>
              <a:latin typeface="Verdana" panose="020B0604030504040204" pitchFamily="34" charset="0"/>
              <a:ea typeface="Verdana" panose="020B0604030504040204" pitchFamily="34" charset="0"/>
            </a:endParaRPr>
          </a:p>
          <a:p>
            <a:pPr lvl="0">
              <a:defRPr/>
            </a:pPr>
            <a:endParaRPr lang="da-DK" sz="1100" dirty="0">
              <a:solidFill>
                <a:prstClr val="black"/>
              </a:solidFill>
              <a:latin typeface="Verdana" panose="020B0604030504040204" pitchFamily="34" charset="0"/>
              <a:ea typeface="Verdana" panose="020B0604030504040204" pitchFamily="34" charset="0"/>
            </a:endParaRPr>
          </a:p>
          <a:p>
            <a:pPr lvl="0">
              <a:defRPr/>
            </a:pPr>
            <a:endParaRPr lang="da-DK" sz="1100" dirty="0">
              <a:solidFill>
                <a:prstClr val="black"/>
              </a:solidFill>
              <a:latin typeface="Verdana" panose="020B0604030504040204" pitchFamily="34" charset="0"/>
              <a:ea typeface="Verdana" panose="020B0604030504040204" pitchFamily="34" charset="0"/>
            </a:endParaRPr>
          </a:p>
          <a:p>
            <a:pPr lvl="0">
              <a:defRPr/>
            </a:pPr>
            <a:r>
              <a:rPr lang="da-DK" sz="1100" dirty="0">
                <a:solidFill>
                  <a:prstClr val="black"/>
                </a:solidFill>
                <a:latin typeface="Verdana" panose="020B0604030504040204" pitchFamily="34" charset="0"/>
                <a:ea typeface="Verdana" panose="020B0604030504040204" pitchFamily="34" charset="0"/>
              </a:rPr>
              <a:t>Med venlig hilsen, </a:t>
            </a:r>
          </a:p>
          <a:p>
            <a:pPr lvl="0">
              <a:defRPr/>
            </a:pPr>
            <a:r>
              <a:rPr lang="da-DK" sz="1100" dirty="0">
                <a:solidFill>
                  <a:prstClr val="black"/>
                </a:solidFill>
                <a:latin typeface="Verdana" panose="020B0604030504040204" pitchFamily="34" charset="0"/>
                <a:ea typeface="Verdana" panose="020B0604030504040204" pitchFamily="34" charset="0"/>
              </a:rPr>
              <a:t>[Direktør]</a:t>
            </a:r>
          </a:p>
          <a:p>
            <a:pPr lvl="0">
              <a:defRPr/>
            </a:pPr>
            <a:endParaRPr lang="da-DK" sz="1100" dirty="0">
              <a:solidFill>
                <a:prstClr val="black"/>
              </a:solidFill>
              <a:latin typeface="Verdana" panose="020B0604030504040204" pitchFamily="34" charset="0"/>
              <a:ea typeface="Verdana" panose="020B0604030504040204" pitchFamily="34" charset="0"/>
            </a:endParaRPr>
          </a:p>
          <a:p>
            <a:pPr lvl="0">
              <a:defRPr/>
            </a:pPr>
            <a:r>
              <a:rPr lang="da-DK" sz="1100" i="1" dirty="0">
                <a:solidFill>
                  <a:prstClr val="black"/>
                </a:solidFill>
                <a:latin typeface="Verdana" panose="020B0604030504040204" pitchFamily="34" charset="0"/>
                <a:ea typeface="Verdana" panose="020B0604030504040204" pitchFamily="34" charset="0"/>
              </a:rPr>
              <a:t>Underskrift </a:t>
            </a:r>
            <a:endParaRPr lang="da-DK" sz="1100" dirty="0">
              <a:solidFill>
                <a:prstClr val="black"/>
              </a:solidFill>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C58A234F-E544-C5D6-B691-3D6CC2A34B7C}"/>
              </a:ext>
            </a:extLst>
          </p:cNvPr>
          <p:cNvPicPr>
            <a:picLocks noChangeAspect="1"/>
          </p:cNvPicPr>
          <p:nvPr/>
        </p:nvPicPr>
        <p:blipFill>
          <a:blip r:embed="rId5"/>
          <a:stretch>
            <a:fillRect/>
          </a:stretch>
        </p:blipFill>
        <p:spPr>
          <a:xfrm>
            <a:off x="10305346" y="4673821"/>
            <a:ext cx="1620766" cy="1620000"/>
          </a:xfrm>
          <a:prstGeom prst="rect">
            <a:avLst/>
          </a:prstGeom>
        </p:spPr>
      </p:pic>
    </p:spTree>
    <p:extLst>
      <p:ext uri="{BB962C8B-B14F-4D97-AF65-F5344CB8AC3E}">
        <p14:creationId xmlns:p14="http://schemas.microsoft.com/office/powerpoint/2010/main" val="4051322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075C3C60-957F-C597-C9E8-62136F82DE0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5087C8-A61D-C1DC-EB75-363D789B8CA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535087C8-A61D-C1DC-EB75-363D789B8CA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F3DC58A-81AA-2182-8BAE-18489A450DC1}"/>
              </a:ext>
            </a:extLst>
          </p:cNvPr>
          <p:cNvSpPr>
            <a:spLocks noGrp="1"/>
          </p:cNvSpPr>
          <p:nvPr>
            <p:ph type="title"/>
          </p:nvPr>
        </p:nvSpPr>
        <p:spPr>
          <a:xfrm>
            <a:off x="578069" y="654269"/>
            <a:ext cx="10515600" cy="831467"/>
          </a:xfrm>
        </p:spPr>
        <p:txBody>
          <a:bodyPr vert="horz">
            <a:normAutofit/>
          </a:bodyPr>
          <a:lstStyle/>
          <a:p>
            <a:r>
              <a:rPr lang="da-DK" sz="4000" b="1" dirty="0">
                <a:solidFill>
                  <a:schemeClr val="bg1"/>
                </a:solidFill>
                <a:latin typeface="Verdana" panose="020B0604030504040204" pitchFamily="34" charset="0"/>
                <a:ea typeface="Verdana" panose="020B0604030504040204" pitchFamily="34" charset="0"/>
              </a:rPr>
              <a:t>Om [bolig organisationens navn]</a:t>
            </a:r>
          </a:p>
        </p:txBody>
      </p:sp>
      <p:sp>
        <p:nvSpPr>
          <p:cNvPr id="5" name="Pladsholder til slidenummer 4">
            <a:extLst>
              <a:ext uri="{FF2B5EF4-FFF2-40B4-BE49-F238E27FC236}">
                <a16:creationId xmlns:a16="http://schemas.microsoft.com/office/drawing/2014/main" id="{2544E3CF-437F-A582-F47C-CD631104F3F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Rounded Corners 3">
            <a:extLst>
              <a:ext uri="{FF2B5EF4-FFF2-40B4-BE49-F238E27FC236}">
                <a16:creationId xmlns:a16="http://schemas.microsoft.com/office/drawing/2014/main" id="{7AFF9F3A-643C-C590-DC0C-19024E630E19}"/>
              </a:ext>
            </a:extLst>
          </p:cNvPr>
          <p:cNvSpPr/>
          <p:nvPr/>
        </p:nvSpPr>
        <p:spPr>
          <a:xfrm>
            <a:off x="6555206" y="2153216"/>
            <a:ext cx="4876247" cy="3284106"/>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76247"/>
                      <a:gd name="connsiteY0" fmla="*/ 0 h 3284106"/>
                      <a:gd name="connsiteX1" fmla="*/ 0 w 4876247"/>
                      <a:gd name="connsiteY1" fmla="*/ 0 h 3284106"/>
                      <a:gd name="connsiteX2" fmla="*/ 550319 w 4876247"/>
                      <a:gd name="connsiteY2" fmla="*/ 0 h 3284106"/>
                      <a:gd name="connsiteX3" fmla="*/ 1344451 w 4876247"/>
                      <a:gd name="connsiteY3" fmla="*/ 0 h 3284106"/>
                      <a:gd name="connsiteX4" fmla="*/ 2089820 w 4876247"/>
                      <a:gd name="connsiteY4" fmla="*/ 0 h 3284106"/>
                      <a:gd name="connsiteX5" fmla="*/ 2640139 w 4876247"/>
                      <a:gd name="connsiteY5" fmla="*/ 0 h 3284106"/>
                      <a:gd name="connsiteX6" fmla="*/ 3287984 w 4876247"/>
                      <a:gd name="connsiteY6" fmla="*/ 0 h 3284106"/>
                      <a:gd name="connsiteX7" fmla="*/ 4082115 w 4876247"/>
                      <a:gd name="connsiteY7" fmla="*/ 0 h 3284106"/>
                      <a:gd name="connsiteX8" fmla="*/ 4876247 w 4876247"/>
                      <a:gd name="connsiteY8" fmla="*/ 0 h 3284106"/>
                      <a:gd name="connsiteX9" fmla="*/ 4876247 w 4876247"/>
                      <a:gd name="connsiteY9" fmla="*/ 0 h 3284106"/>
                      <a:gd name="connsiteX10" fmla="*/ 4876247 w 4876247"/>
                      <a:gd name="connsiteY10" fmla="*/ 689662 h 3284106"/>
                      <a:gd name="connsiteX11" fmla="*/ 4876247 w 4876247"/>
                      <a:gd name="connsiteY11" fmla="*/ 1247960 h 3284106"/>
                      <a:gd name="connsiteX12" fmla="*/ 4876247 w 4876247"/>
                      <a:gd name="connsiteY12" fmla="*/ 1839099 h 3284106"/>
                      <a:gd name="connsiteX13" fmla="*/ 4876247 w 4876247"/>
                      <a:gd name="connsiteY13" fmla="*/ 2528762 h 3284106"/>
                      <a:gd name="connsiteX14" fmla="*/ 4876247 w 4876247"/>
                      <a:gd name="connsiteY14" fmla="*/ 3284106 h 3284106"/>
                      <a:gd name="connsiteX15" fmla="*/ 4876247 w 4876247"/>
                      <a:gd name="connsiteY15" fmla="*/ 3284106 h 3284106"/>
                      <a:gd name="connsiteX16" fmla="*/ 4325928 w 4876247"/>
                      <a:gd name="connsiteY16" fmla="*/ 3284106 h 3284106"/>
                      <a:gd name="connsiteX17" fmla="*/ 3775608 w 4876247"/>
                      <a:gd name="connsiteY17" fmla="*/ 3284106 h 3284106"/>
                      <a:gd name="connsiteX18" fmla="*/ 3030239 w 4876247"/>
                      <a:gd name="connsiteY18" fmla="*/ 3284106 h 3284106"/>
                      <a:gd name="connsiteX19" fmla="*/ 2479920 w 4876247"/>
                      <a:gd name="connsiteY19" fmla="*/ 3284106 h 3284106"/>
                      <a:gd name="connsiteX20" fmla="*/ 1783313 w 4876247"/>
                      <a:gd name="connsiteY20" fmla="*/ 3284106 h 3284106"/>
                      <a:gd name="connsiteX21" fmla="*/ 1184231 w 4876247"/>
                      <a:gd name="connsiteY21" fmla="*/ 3284106 h 3284106"/>
                      <a:gd name="connsiteX22" fmla="*/ 0 w 4876247"/>
                      <a:gd name="connsiteY22" fmla="*/ 3284106 h 3284106"/>
                      <a:gd name="connsiteX23" fmla="*/ 0 w 4876247"/>
                      <a:gd name="connsiteY23" fmla="*/ 3284106 h 3284106"/>
                      <a:gd name="connsiteX24" fmla="*/ 0 w 4876247"/>
                      <a:gd name="connsiteY24" fmla="*/ 2627285 h 3284106"/>
                      <a:gd name="connsiteX25" fmla="*/ 0 w 4876247"/>
                      <a:gd name="connsiteY25" fmla="*/ 1904781 h 3284106"/>
                      <a:gd name="connsiteX26" fmla="*/ 0 w 4876247"/>
                      <a:gd name="connsiteY26" fmla="*/ 1280801 h 3284106"/>
                      <a:gd name="connsiteX27" fmla="*/ 0 w 4876247"/>
                      <a:gd name="connsiteY27" fmla="*/ 656821 h 3284106"/>
                      <a:gd name="connsiteX28" fmla="*/ 0 w 4876247"/>
                      <a:gd name="connsiteY28" fmla="*/ 0 h 328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876247" h="3284106" fill="none" extrusionOk="0">
                        <a:moveTo>
                          <a:pt x="0" y="0"/>
                        </a:moveTo>
                        <a:lnTo>
                          <a:pt x="0" y="0"/>
                        </a:lnTo>
                        <a:cubicBezTo>
                          <a:pt x="182977" y="-17279"/>
                          <a:pt x="421591" y="5271"/>
                          <a:pt x="550319" y="0"/>
                        </a:cubicBezTo>
                        <a:cubicBezTo>
                          <a:pt x="679047" y="-5271"/>
                          <a:pt x="969732" y="-36896"/>
                          <a:pt x="1344451" y="0"/>
                        </a:cubicBezTo>
                        <a:cubicBezTo>
                          <a:pt x="1719170" y="36896"/>
                          <a:pt x="1844978" y="4397"/>
                          <a:pt x="2089820" y="0"/>
                        </a:cubicBezTo>
                        <a:cubicBezTo>
                          <a:pt x="2334662" y="-4397"/>
                          <a:pt x="2432980" y="6110"/>
                          <a:pt x="2640139" y="0"/>
                        </a:cubicBezTo>
                        <a:cubicBezTo>
                          <a:pt x="2847298" y="-6110"/>
                          <a:pt x="3146844" y="-19560"/>
                          <a:pt x="3287984" y="0"/>
                        </a:cubicBezTo>
                        <a:cubicBezTo>
                          <a:pt x="3429125" y="19560"/>
                          <a:pt x="3705138" y="5099"/>
                          <a:pt x="4082115" y="0"/>
                        </a:cubicBezTo>
                        <a:cubicBezTo>
                          <a:pt x="4459092" y="-5099"/>
                          <a:pt x="4539480" y="33497"/>
                          <a:pt x="4876247" y="0"/>
                        </a:cubicBezTo>
                        <a:lnTo>
                          <a:pt x="4876247" y="0"/>
                        </a:lnTo>
                        <a:cubicBezTo>
                          <a:pt x="4864343" y="186486"/>
                          <a:pt x="4882575" y="446246"/>
                          <a:pt x="4876247" y="689662"/>
                        </a:cubicBezTo>
                        <a:cubicBezTo>
                          <a:pt x="4869919" y="933078"/>
                          <a:pt x="4898199" y="1025139"/>
                          <a:pt x="4876247" y="1247960"/>
                        </a:cubicBezTo>
                        <a:cubicBezTo>
                          <a:pt x="4854295" y="1470781"/>
                          <a:pt x="4863023" y="1617079"/>
                          <a:pt x="4876247" y="1839099"/>
                        </a:cubicBezTo>
                        <a:cubicBezTo>
                          <a:pt x="4889471" y="2061119"/>
                          <a:pt x="4865073" y="2376603"/>
                          <a:pt x="4876247" y="2528762"/>
                        </a:cubicBezTo>
                        <a:cubicBezTo>
                          <a:pt x="4887421" y="2680921"/>
                          <a:pt x="4911957" y="2976016"/>
                          <a:pt x="4876247" y="3284106"/>
                        </a:cubicBezTo>
                        <a:lnTo>
                          <a:pt x="4876247" y="3284106"/>
                        </a:lnTo>
                        <a:cubicBezTo>
                          <a:pt x="4742001" y="3271734"/>
                          <a:pt x="4486316" y="3307843"/>
                          <a:pt x="4325928" y="3284106"/>
                        </a:cubicBezTo>
                        <a:cubicBezTo>
                          <a:pt x="4165540" y="3260369"/>
                          <a:pt x="3902147" y="3293210"/>
                          <a:pt x="3775608" y="3284106"/>
                        </a:cubicBezTo>
                        <a:cubicBezTo>
                          <a:pt x="3649069" y="3275002"/>
                          <a:pt x="3345567" y="3288868"/>
                          <a:pt x="3030239" y="3284106"/>
                        </a:cubicBezTo>
                        <a:cubicBezTo>
                          <a:pt x="2714911" y="3279344"/>
                          <a:pt x="2698024" y="3307836"/>
                          <a:pt x="2479920" y="3284106"/>
                        </a:cubicBezTo>
                        <a:cubicBezTo>
                          <a:pt x="2261816" y="3260376"/>
                          <a:pt x="2083842" y="3277566"/>
                          <a:pt x="1783313" y="3284106"/>
                        </a:cubicBezTo>
                        <a:cubicBezTo>
                          <a:pt x="1482784" y="3290646"/>
                          <a:pt x="1474542" y="3301452"/>
                          <a:pt x="1184231" y="3284106"/>
                        </a:cubicBezTo>
                        <a:cubicBezTo>
                          <a:pt x="893920" y="3266760"/>
                          <a:pt x="449477" y="3258277"/>
                          <a:pt x="0" y="3284106"/>
                        </a:cubicBezTo>
                        <a:lnTo>
                          <a:pt x="0" y="3284106"/>
                        </a:lnTo>
                        <a:cubicBezTo>
                          <a:pt x="-21467" y="3048297"/>
                          <a:pt x="2884" y="2858819"/>
                          <a:pt x="0" y="2627285"/>
                        </a:cubicBezTo>
                        <a:cubicBezTo>
                          <a:pt x="-2884" y="2395751"/>
                          <a:pt x="-33179" y="2148278"/>
                          <a:pt x="0" y="1904781"/>
                        </a:cubicBezTo>
                        <a:cubicBezTo>
                          <a:pt x="33179" y="1661284"/>
                          <a:pt x="-21224" y="1559281"/>
                          <a:pt x="0" y="1280801"/>
                        </a:cubicBezTo>
                        <a:cubicBezTo>
                          <a:pt x="21224" y="1002321"/>
                          <a:pt x="-8900" y="929024"/>
                          <a:pt x="0" y="656821"/>
                        </a:cubicBezTo>
                        <a:cubicBezTo>
                          <a:pt x="8900" y="384618"/>
                          <a:pt x="-23243" y="189071"/>
                          <a:pt x="0" y="0"/>
                        </a:cubicBezTo>
                        <a:close/>
                      </a:path>
                      <a:path w="4876247" h="3284106" stroke="0" extrusionOk="0">
                        <a:moveTo>
                          <a:pt x="0" y="0"/>
                        </a:moveTo>
                        <a:lnTo>
                          <a:pt x="0" y="0"/>
                        </a:lnTo>
                        <a:cubicBezTo>
                          <a:pt x="318604" y="3296"/>
                          <a:pt x="476865" y="-8711"/>
                          <a:pt x="647844" y="0"/>
                        </a:cubicBezTo>
                        <a:cubicBezTo>
                          <a:pt x="818823" y="8711"/>
                          <a:pt x="1051008" y="17741"/>
                          <a:pt x="1198164" y="0"/>
                        </a:cubicBezTo>
                        <a:cubicBezTo>
                          <a:pt x="1345320" y="-17741"/>
                          <a:pt x="1616702" y="10689"/>
                          <a:pt x="1992295" y="0"/>
                        </a:cubicBezTo>
                        <a:cubicBezTo>
                          <a:pt x="2367888" y="-10689"/>
                          <a:pt x="2499097" y="-32005"/>
                          <a:pt x="2640139" y="0"/>
                        </a:cubicBezTo>
                        <a:cubicBezTo>
                          <a:pt x="2781181" y="32005"/>
                          <a:pt x="3008684" y="-19725"/>
                          <a:pt x="3287984" y="0"/>
                        </a:cubicBezTo>
                        <a:cubicBezTo>
                          <a:pt x="3567284" y="19725"/>
                          <a:pt x="3699688" y="30966"/>
                          <a:pt x="4082115" y="0"/>
                        </a:cubicBezTo>
                        <a:cubicBezTo>
                          <a:pt x="4464542" y="-30966"/>
                          <a:pt x="4656740" y="32211"/>
                          <a:pt x="4876247" y="0"/>
                        </a:cubicBezTo>
                        <a:lnTo>
                          <a:pt x="4876247" y="0"/>
                        </a:lnTo>
                        <a:cubicBezTo>
                          <a:pt x="4843046" y="272225"/>
                          <a:pt x="4900290" y="428381"/>
                          <a:pt x="4876247" y="722503"/>
                        </a:cubicBezTo>
                        <a:cubicBezTo>
                          <a:pt x="4852204" y="1016625"/>
                          <a:pt x="4903320" y="1165442"/>
                          <a:pt x="4876247" y="1313642"/>
                        </a:cubicBezTo>
                        <a:cubicBezTo>
                          <a:pt x="4849174" y="1461842"/>
                          <a:pt x="4859614" y="1783074"/>
                          <a:pt x="4876247" y="1904781"/>
                        </a:cubicBezTo>
                        <a:cubicBezTo>
                          <a:pt x="4892880" y="2026488"/>
                          <a:pt x="4884032" y="2287221"/>
                          <a:pt x="4876247" y="2561603"/>
                        </a:cubicBezTo>
                        <a:cubicBezTo>
                          <a:pt x="4868462" y="2835985"/>
                          <a:pt x="4899146" y="3019811"/>
                          <a:pt x="4876247" y="3284106"/>
                        </a:cubicBezTo>
                        <a:lnTo>
                          <a:pt x="4876247" y="3284106"/>
                        </a:lnTo>
                        <a:cubicBezTo>
                          <a:pt x="4604456" y="3259074"/>
                          <a:pt x="4577214" y="3270124"/>
                          <a:pt x="4325928" y="3284106"/>
                        </a:cubicBezTo>
                        <a:cubicBezTo>
                          <a:pt x="4074642" y="3298088"/>
                          <a:pt x="3878026" y="3256052"/>
                          <a:pt x="3531796" y="3284106"/>
                        </a:cubicBezTo>
                        <a:cubicBezTo>
                          <a:pt x="3185566" y="3312160"/>
                          <a:pt x="3069617" y="3257908"/>
                          <a:pt x="2932714" y="3284106"/>
                        </a:cubicBezTo>
                        <a:cubicBezTo>
                          <a:pt x="2795811" y="3310304"/>
                          <a:pt x="2431329" y="3266922"/>
                          <a:pt x="2236108" y="3284106"/>
                        </a:cubicBezTo>
                        <a:cubicBezTo>
                          <a:pt x="2040887" y="3301290"/>
                          <a:pt x="1695348" y="3278189"/>
                          <a:pt x="1441976" y="3284106"/>
                        </a:cubicBezTo>
                        <a:cubicBezTo>
                          <a:pt x="1188604" y="3290023"/>
                          <a:pt x="1075551" y="3256196"/>
                          <a:pt x="745369" y="3284106"/>
                        </a:cubicBezTo>
                        <a:cubicBezTo>
                          <a:pt x="415187" y="3312016"/>
                          <a:pt x="277427" y="3259067"/>
                          <a:pt x="0" y="3284106"/>
                        </a:cubicBezTo>
                        <a:lnTo>
                          <a:pt x="0" y="3284106"/>
                        </a:lnTo>
                        <a:cubicBezTo>
                          <a:pt x="-23362" y="3152234"/>
                          <a:pt x="-18635" y="2903251"/>
                          <a:pt x="0" y="2692967"/>
                        </a:cubicBezTo>
                        <a:cubicBezTo>
                          <a:pt x="18635" y="2482683"/>
                          <a:pt x="-4777" y="2251740"/>
                          <a:pt x="0" y="2068987"/>
                        </a:cubicBezTo>
                        <a:cubicBezTo>
                          <a:pt x="4777" y="1886234"/>
                          <a:pt x="-29031" y="1531851"/>
                          <a:pt x="0" y="1346483"/>
                        </a:cubicBezTo>
                        <a:cubicBezTo>
                          <a:pt x="29031" y="1161115"/>
                          <a:pt x="-11768" y="958918"/>
                          <a:pt x="0" y="689662"/>
                        </a:cubicBezTo>
                        <a:cubicBezTo>
                          <a:pt x="11768" y="420406"/>
                          <a:pt x="-2905" y="248581"/>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dirty="0">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4" name="Tekstfelt 7">
            <a:extLst>
              <a:ext uri="{FF2B5EF4-FFF2-40B4-BE49-F238E27FC236}">
                <a16:creationId xmlns:a16="http://schemas.microsoft.com/office/drawing/2014/main" id="{6C060880-719F-925C-68C0-8B1B68D7B554}"/>
              </a:ext>
            </a:extLst>
          </p:cNvPr>
          <p:cNvSpPr txBox="1"/>
          <p:nvPr/>
        </p:nvSpPr>
        <p:spPr>
          <a:xfrm>
            <a:off x="578069" y="4526605"/>
            <a:ext cx="2566060" cy="1677126"/>
          </a:xfrm>
          <a:prstGeom prst="rect">
            <a:avLst/>
          </a:prstGeom>
          <a:noFill/>
        </p:spPr>
        <p:txBody>
          <a:bodyPr wrap="square" rtlCol="0" anchor="b">
            <a:spAutoFit/>
          </a:bodyPr>
          <a:lstStyle/>
          <a:p>
            <a:pPr lvl="0">
              <a:lnSpc>
                <a:spcPct val="120000"/>
              </a:lnSpc>
            </a:pPr>
            <a:r>
              <a:rPr lang="da-DK" sz="9600" b="1" dirty="0">
                <a:solidFill>
                  <a:schemeClr val="bg1"/>
                </a:solidFill>
                <a:latin typeface="Verdana" panose="020B0604030504040204" pitchFamily="34" charset="0"/>
                <a:ea typeface="Verdana" panose="020B0604030504040204" pitchFamily="34" charset="0"/>
                <a:cs typeface="Verdana" panose="020B0604030504040204" pitchFamily="34" charset="0"/>
              </a:rPr>
              <a:t>02</a:t>
            </a:r>
          </a:p>
        </p:txBody>
      </p:sp>
      <p:sp>
        <p:nvSpPr>
          <p:cNvPr id="7" name="Rectangle: Rounded Corners 3">
            <a:extLst>
              <a:ext uri="{FF2B5EF4-FFF2-40B4-BE49-F238E27FC236}">
                <a16:creationId xmlns:a16="http://schemas.microsoft.com/office/drawing/2014/main" id="{3BFA3603-8B4F-1CE7-122D-37328DB9B00A}"/>
              </a:ext>
            </a:extLst>
          </p:cNvPr>
          <p:cNvSpPr/>
          <p:nvPr/>
        </p:nvSpPr>
        <p:spPr>
          <a:xfrm>
            <a:off x="5064120" y="4012069"/>
            <a:ext cx="3051180" cy="1884767"/>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3051180"/>
                      <a:gd name="connsiteY0" fmla="*/ 0 h 1884767"/>
                      <a:gd name="connsiteX1" fmla="*/ 0 w 3051180"/>
                      <a:gd name="connsiteY1" fmla="*/ 0 h 1884767"/>
                      <a:gd name="connsiteX2" fmla="*/ 579724 w 3051180"/>
                      <a:gd name="connsiteY2" fmla="*/ 0 h 1884767"/>
                      <a:gd name="connsiteX3" fmla="*/ 1098425 w 3051180"/>
                      <a:gd name="connsiteY3" fmla="*/ 0 h 1884767"/>
                      <a:gd name="connsiteX4" fmla="*/ 1647637 w 3051180"/>
                      <a:gd name="connsiteY4" fmla="*/ 0 h 1884767"/>
                      <a:gd name="connsiteX5" fmla="*/ 2288385 w 3051180"/>
                      <a:gd name="connsiteY5" fmla="*/ 0 h 1884767"/>
                      <a:gd name="connsiteX6" fmla="*/ 3051180 w 3051180"/>
                      <a:gd name="connsiteY6" fmla="*/ 0 h 1884767"/>
                      <a:gd name="connsiteX7" fmla="*/ 3051180 w 3051180"/>
                      <a:gd name="connsiteY7" fmla="*/ 0 h 1884767"/>
                      <a:gd name="connsiteX8" fmla="*/ 3051180 w 3051180"/>
                      <a:gd name="connsiteY8" fmla="*/ 590560 h 1884767"/>
                      <a:gd name="connsiteX9" fmla="*/ 3051180 w 3051180"/>
                      <a:gd name="connsiteY9" fmla="*/ 1162273 h 1884767"/>
                      <a:gd name="connsiteX10" fmla="*/ 3051180 w 3051180"/>
                      <a:gd name="connsiteY10" fmla="*/ 1884767 h 1884767"/>
                      <a:gd name="connsiteX11" fmla="*/ 3051180 w 3051180"/>
                      <a:gd name="connsiteY11" fmla="*/ 1884767 h 1884767"/>
                      <a:gd name="connsiteX12" fmla="*/ 2440944 w 3051180"/>
                      <a:gd name="connsiteY12" fmla="*/ 1884767 h 1884767"/>
                      <a:gd name="connsiteX13" fmla="*/ 1891732 w 3051180"/>
                      <a:gd name="connsiteY13" fmla="*/ 1884767 h 1884767"/>
                      <a:gd name="connsiteX14" fmla="*/ 1220472 w 3051180"/>
                      <a:gd name="connsiteY14" fmla="*/ 1884767 h 1884767"/>
                      <a:gd name="connsiteX15" fmla="*/ 640748 w 3051180"/>
                      <a:gd name="connsiteY15" fmla="*/ 1884767 h 1884767"/>
                      <a:gd name="connsiteX16" fmla="*/ 0 w 3051180"/>
                      <a:gd name="connsiteY16" fmla="*/ 1884767 h 1884767"/>
                      <a:gd name="connsiteX17" fmla="*/ 0 w 3051180"/>
                      <a:gd name="connsiteY17" fmla="*/ 1884767 h 1884767"/>
                      <a:gd name="connsiteX18" fmla="*/ 0 w 3051180"/>
                      <a:gd name="connsiteY18" fmla="*/ 1237664 h 1884767"/>
                      <a:gd name="connsiteX19" fmla="*/ 0 w 3051180"/>
                      <a:gd name="connsiteY19" fmla="*/ 628256 h 1884767"/>
                      <a:gd name="connsiteX20" fmla="*/ 0 w 3051180"/>
                      <a:gd name="connsiteY20" fmla="*/ 0 h 1884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51180" h="1884767" fill="none" extrusionOk="0">
                        <a:moveTo>
                          <a:pt x="0" y="0"/>
                        </a:moveTo>
                        <a:lnTo>
                          <a:pt x="0" y="0"/>
                        </a:lnTo>
                        <a:cubicBezTo>
                          <a:pt x="219389" y="22562"/>
                          <a:pt x="320891" y="16407"/>
                          <a:pt x="579724" y="0"/>
                        </a:cubicBezTo>
                        <a:cubicBezTo>
                          <a:pt x="838557" y="-16407"/>
                          <a:pt x="842508" y="-10379"/>
                          <a:pt x="1098425" y="0"/>
                        </a:cubicBezTo>
                        <a:cubicBezTo>
                          <a:pt x="1354342" y="10379"/>
                          <a:pt x="1467764" y="-5049"/>
                          <a:pt x="1647637" y="0"/>
                        </a:cubicBezTo>
                        <a:cubicBezTo>
                          <a:pt x="1827510" y="5049"/>
                          <a:pt x="2106343" y="-31949"/>
                          <a:pt x="2288385" y="0"/>
                        </a:cubicBezTo>
                        <a:cubicBezTo>
                          <a:pt x="2470427" y="31949"/>
                          <a:pt x="2819715" y="16353"/>
                          <a:pt x="3051180" y="0"/>
                        </a:cubicBezTo>
                        <a:lnTo>
                          <a:pt x="3051180" y="0"/>
                        </a:lnTo>
                        <a:cubicBezTo>
                          <a:pt x="3050363" y="260767"/>
                          <a:pt x="3059162" y="389029"/>
                          <a:pt x="3051180" y="590560"/>
                        </a:cubicBezTo>
                        <a:cubicBezTo>
                          <a:pt x="3043198" y="792091"/>
                          <a:pt x="3052209" y="968304"/>
                          <a:pt x="3051180" y="1162273"/>
                        </a:cubicBezTo>
                        <a:cubicBezTo>
                          <a:pt x="3050151" y="1356242"/>
                          <a:pt x="3048436" y="1632848"/>
                          <a:pt x="3051180" y="1884767"/>
                        </a:cubicBezTo>
                        <a:lnTo>
                          <a:pt x="3051180" y="1884767"/>
                        </a:lnTo>
                        <a:cubicBezTo>
                          <a:pt x="2895373" y="1857422"/>
                          <a:pt x="2660108" y="1895733"/>
                          <a:pt x="2440944" y="1884767"/>
                        </a:cubicBezTo>
                        <a:cubicBezTo>
                          <a:pt x="2221780" y="1873801"/>
                          <a:pt x="2098188" y="1898223"/>
                          <a:pt x="1891732" y="1884767"/>
                        </a:cubicBezTo>
                        <a:cubicBezTo>
                          <a:pt x="1685276" y="1871311"/>
                          <a:pt x="1514784" y="1884566"/>
                          <a:pt x="1220472" y="1884767"/>
                        </a:cubicBezTo>
                        <a:cubicBezTo>
                          <a:pt x="926160" y="1884968"/>
                          <a:pt x="797301" y="1905822"/>
                          <a:pt x="640748" y="1884767"/>
                        </a:cubicBezTo>
                        <a:cubicBezTo>
                          <a:pt x="484195" y="1863712"/>
                          <a:pt x="254784" y="1886649"/>
                          <a:pt x="0" y="1884767"/>
                        </a:cubicBezTo>
                        <a:lnTo>
                          <a:pt x="0" y="1884767"/>
                        </a:lnTo>
                        <a:cubicBezTo>
                          <a:pt x="-1853" y="1606204"/>
                          <a:pt x="-30201" y="1460706"/>
                          <a:pt x="0" y="1237664"/>
                        </a:cubicBezTo>
                        <a:cubicBezTo>
                          <a:pt x="30201" y="1014622"/>
                          <a:pt x="-27264" y="785257"/>
                          <a:pt x="0" y="628256"/>
                        </a:cubicBezTo>
                        <a:cubicBezTo>
                          <a:pt x="27264" y="471255"/>
                          <a:pt x="-13438" y="164903"/>
                          <a:pt x="0" y="0"/>
                        </a:cubicBezTo>
                        <a:close/>
                      </a:path>
                      <a:path w="3051180" h="1884767" stroke="0" extrusionOk="0">
                        <a:moveTo>
                          <a:pt x="0" y="0"/>
                        </a:moveTo>
                        <a:lnTo>
                          <a:pt x="0" y="0"/>
                        </a:lnTo>
                        <a:cubicBezTo>
                          <a:pt x="175423" y="22249"/>
                          <a:pt x="327023" y="-1824"/>
                          <a:pt x="579724" y="0"/>
                        </a:cubicBezTo>
                        <a:cubicBezTo>
                          <a:pt x="832425" y="1824"/>
                          <a:pt x="933788" y="16761"/>
                          <a:pt x="1098425" y="0"/>
                        </a:cubicBezTo>
                        <a:cubicBezTo>
                          <a:pt x="1263062" y="-16761"/>
                          <a:pt x="1469956" y="-32660"/>
                          <a:pt x="1769684" y="0"/>
                        </a:cubicBezTo>
                        <a:cubicBezTo>
                          <a:pt x="2069412" y="32660"/>
                          <a:pt x="2219249" y="-6113"/>
                          <a:pt x="2349409" y="0"/>
                        </a:cubicBezTo>
                        <a:cubicBezTo>
                          <a:pt x="2479570" y="6113"/>
                          <a:pt x="2785627" y="13900"/>
                          <a:pt x="3051180" y="0"/>
                        </a:cubicBezTo>
                        <a:lnTo>
                          <a:pt x="3051180" y="0"/>
                        </a:lnTo>
                        <a:cubicBezTo>
                          <a:pt x="3049883" y="314501"/>
                          <a:pt x="3067583" y="465359"/>
                          <a:pt x="3051180" y="665951"/>
                        </a:cubicBezTo>
                        <a:cubicBezTo>
                          <a:pt x="3034777" y="866543"/>
                          <a:pt x="3021142" y="1167154"/>
                          <a:pt x="3051180" y="1294207"/>
                        </a:cubicBezTo>
                        <a:cubicBezTo>
                          <a:pt x="3081218" y="1421260"/>
                          <a:pt x="3066619" y="1740330"/>
                          <a:pt x="3051180" y="1884767"/>
                        </a:cubicBezTo>
                        <a:lnTo>
                          <a:pt x="3051180" y="1884767"/>
                        </a:lnTo>
                        <a:cubicBezTo>
                          <a:pt x="2890423" y="1902417"/>
                          <a:pt x="2761639" y="1862971"/>
                          <a:pt x="2501968" y="1884767"/>
                        </a:cubicBezTo>
                        <a:cubicBezTo>
                          <a:pt x="2242297" y="1906563"/>
                          <a:pt x="2170623" y="1892828"/>
                          <a:pt x="1891732" y="1884767"/>
                        </a:cubicBezTo>
                        <a:cubicBezTo>
                          <a:pt x="1612841" y="1876706"/>
                          <a:pt x="1583732" y="1907186"/>
                          <a:pt x="1281496" y="1884767"/>
                        </a:cubicBezTo>
                        <a:cubicBezTo>
                          <a:pt x="979260" y="1862348"/>
                          <a:pt x="902370" y="1885053"/>
                          <a:pt x="701771" y="1884767"/>
                        </a:cubicBezTo>
                        <a:cubicBezTo>
                          <a:pt x="501173" y="1884481"/>
                          <a:pt x="301132" y="1886902"/>
                          <a:pt x="0" y="1884767"/>
                        </a:cubicBezTo>
                        <a:lnTo>
                          <a:pt x="0" y="1884767"/>
                        </a:lnTo>
                        <a:cubicBezTo>
                          <a:pt x="-26117" y="1636439"/>
                          <a:pt x="20231" y="1394981"/>
                          <a:pt x="0" y="1218816"/>
                        </a:cubicBezTo>
                        <a:cubicBezTo>
                          <a:pt x="-20231" y="1042651"/>
                          <a:pt x="15069" y="878895"/>
                          <a:pt x="0" y="552865"/>
                        </a:cubicBezTo>
                        <a:cubicBezTo>
                          <a:pt x="-15069" y="226835"/>
                          <a:pt x="26314" y="125680"/>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dirty="0">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10" name="Rectangle: Rounded Corners 3">
            <a:extLst>
              <a:ext uri="{FF2B5EF4-FFF2-40B4-BE49-F238E27FC236}">
                <a16:creationId xmlns:a16="http://schemas.microsoft.com/office/drawing/2014/main" id="{59DF27E5-5B54-315E-1546-D0D888D25587}"/>
              </a:ext>
            </a:extLst>
          </p:cNvPr>
          <p:cNvSpPr/>
          <p:nvPr/>
        </p:nvSpPr>
        <p:spPr>
          <a:xfrm>
            <a:off x="285457" y="1070002"/>
            <a:ext cx="6173653" cy="1628428"/>
          </a:xfrm>
          <a:prstGeom prst="roundRect">
            <a:avLst>
              <a:gd name="adj" fmla="val 0"/>
            </a:avLst>
          </a:prstGeom>
          <a:noFill/>
          <a:ln w="12700">
            <a:no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t"/>
          <a:lstStyle/>
          <a:p>
            <a:endParaRPr lang="da-DK" sz="1200" b="1" dirty="0">
              <a:solidFill>
                <a:schemeClr val="bg1"/>
              </a:solidFill>
              <a:latin typeface="Verdana" panose="020B0604030504040204" pitchFamily="34" charset="0"/>
              <a:ea typeface="Verdana" panose="020B0604030504040204" pitchFamily="34" charset="0"/>
            </a:endParaRPr>
          </a:p>
          <a:p>
            <a:endParaRPr lang="da-DK" sz="1200" b="1" dirty="0">
              <a:solidFill>
                <a:schemeClr val="bg1"/>
              </a:solidFill>
              <a:latin typeface="Verdana" panose="020B0604030504040204" pitchFamily="34" charset="0"/>
              <a:ea typeface="Verdana" panose="020B0604030504040204" pitchFamily="34" charset="0"/>
            </a:endParaRPr>
          </a:p>
          <a:p>
            <a:r>
              <a:rPr lang="da-DK" sz="1200" b="1" dirty="0">
                <a:solidFill>
                  <a:schemeClr val="bg1"/>
                </a:solidFill>
                <a:latin typeface="Verdana" panose="020B0604030504040204" pitchFamily="34" charset="0"/>
                <a:ea typeface="Verdana" panose="020B0604030504040204" pitchFamily="34" charset="0"/>
              </a:rPr>
              <a:t>I dette afsnit vil du få introduktion til [boligorganisationen] og ledelsen.</a:t>
            </a:r>
          </a:p>
        </p:txBody>
      </p:sp>
    </p:spTree>
    <p:extLst>
      <p:ext uri="{BB962C8B-B14F-4D97-AF65-F5344CB8AC3E}">
        <p14:creationId xmlns:p14="http://schemas.microsoft.com/office/powerpoint/2010/main" val="4258244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A8F72-0943-360F-D73E-EEAC487A46C5}"/>
            </a:ext>
          </a:extLst>
        </p:cNvPr>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A4C9A5CC-08A0-4700-43CF-EFB49CDFA6B9}"/>
              </a:ext>
            </a:extLst>
          </p:cNvPr>
          <p:cNvSpPr/>
          <p:nvPr/>
        </p:nvSpPr>
        <p:spPr>
          <a:xfrm flipH="1">
            <a:off x="379786" y="4780153"/>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almene boliger</a:t>
            </a:r>
            <a:r>
              <a:rPr lang="da-DK" sz="1000">
                <a:solidFill>
                  <a:srgbClr val="005850"/>
                </a:solidFill>
                <a:latin typeface="Verdana" panose="020B0604030504040204" pitchFamily="34" charset="0"/>
                <a:ea typeface="Verdana" panose="020B0604030504040204" pitchFamily="34" charset="0"/>
              </a:rPr>
              <a:t> i drift</a:t>
            </a:r>
            <a:endParaRPr lang="da-DK" sz="1000" noProof="0">
              <a:solidFill>
                <a:srgbClr val="005850"/>
              </a:solidFill>
              <a:latin typeface="Verdana" panose="020B0604030504040204" pitchFamily="34" charset="0"/>
              <a:ea typeface="Verdana" panose="020B0604030504040204" pitchFamily="34" charset="0"/>
            </a:endParaRPr>
          </a:p>
        </p:txBody>
      </p:sp>
      <p:sp>
        <p:nvSpPr>
          <p:cNvPr id="55" name="Rektangel 13">
            <a:extLst>
              <a:ext uri="{FF2B5EF4-FFF2-40B4-BE49-F238E27FC236}">
                <a16:creationId xmlns:a16="http://schemas.microsoft.com/office/drawing/2014/main" id="{24B0DD9F-CAC2-5330-352B-33AC47762DBD}"/>
              </a:ext>
            </a:extLst>
          </p:cNvPr>
          <p:cNvSpPr/>
          <p:nvPr/>
        </p:nvSpPr>
        <p:spPr>
          <a:xfrm>
            <a:off x="5017169" y="0"/>
            <a:ext cx="7186862" cy="6858000"/>
          </a:xfrm>
          <a:prstGeom prst="rect">
            <a:avLst/>
          </a:prstGeom>
          <a:solidFill>
            <a:srgbClr val="F0F5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DM Sans 14pt" panose="020B0604020202020204" charset="0"/>
            </a:endParaRPr>
          </a:p>
        </p:txBody>
      </p:sp>
      <p:sp>
        <p:nvSpPr>
          <p:cNvPr id="5" name="Tekstfelt 4">
            <a:extLst>
              <a:ext uri="{FF2B5EF4-FFF2-40B4-BE49-F238E27FC236}">
                <a16:creationId xmlns:a16="http://schemas.microsoft.com/office/drawing/2014/main" id="{0AE03EA6-1000-7BC6-BEFC-64064F20D4C8}"/>
              </a:ext>
            </a:extLst>
          </p:cNvPr>
          <p:cNvSpPr txBox="1"/>
          <p:nvPr/>
        </p:nvSpPr>
        <p:spPr>
          <a:xfrm>
            <a:off x="5478522" y="516335"/>
            <a:ext cx="6713478" cy="1117998"/>
          </a:xfrm>
          <a:prstGeom prst="rect">
            <a:avLst/>
          </a:prstGeom>
          <a:noFill/>
        </p:spPr>
        <p:txBody>
          <a:bodyPr wrap="square">
            <a:spAutoFit/>
          </a:bodyPr>
          <a:lstStyle/>
          <a:p>
            <a:pPr algn="ctr">
              <a:lnSpc>
                <a:spcPct val="107000"/>
              </a:lnSpc>
              <a:spcBef>
                <a:spcPts val="1800"/>
              </a:spcBef>
              <a:spcAft>
                <a:spcPts val="400"/>
              </a:spcAft>
              <a:buNone/>
            </a:pPr>
            <a:r>
              <a:rPr lang="da-DK" sz="3000" kern="100" dirty="0">
                <a:solidFill>
                  <a:srgbClr val="005850"/>
                </a:solidFill>
                <a:effectLst/>
                <a:latin typeface="Verdana" panose="020B0604030504040204" pitchFamily="34" charset="0"/>
                <a:ea typeface="Verdana" panose="020B0604030504040204" pitchFamily="34" charset="0"/>
                <a:cs typeface="Times New Roman" panose="02020603050405020304" pitchFamily="18" charset="0"/>
              </a:rPr>
              <a:t>Om [Boligorganisation]</a:t>
            </a:r>
          </a:p>
          <a:p>
            <a:pPr>
              <a:lnSpc>
                <a:spcPct val="107000"/>
              </a:lnSpc>
              <a:spcAft>
                <a:spcPts val="800"/>
              </a:spcAft>
              <a:buNone/>
            </a:pPr>
            <a:endParaRPr lang="da-DK" sz="3000" i="1" kern="100" dirty="0">
              <a:solidFill>
                <a:schemeClr val="bg1">
                  <a:lumMod val="65000"/>
                </a:schemeClr>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7" name="Pladsholder til slidenummer 6">
            <a:extLst>
              <a:ext uri="{FF2B5EF4-FFF2-40B4-BE49-F238E27FC236}">
                <a16:creationId xmlns:a16="http://schemas.microsoft.com/office/drawing/2014/main" id="{5AC07EA4-D8CD-227B-D9F0-3C1D1E95AAB4}"/>
              </a:ext>
            </a:extLst>
          </p:cNvPr>
          <p:cNvSpPr>
            <a:spLocks noGrp="1"/>
          </p:cNvSpPr>
          <p:nvPr>
            <p:ph type="sldNum" sz="quarter" idx="12"/>
          </p:nvPr>
        </p:nvSpPr>
        <p:spPr/>
        <p:txBody>
          <a:bodyPr/>
          <a:lstStyle/>
          <a:p>
            <a:fld id="{D1CF6110-3358-3240-B3E6-2B2529506D05}" type="slidenum">
              <a:rPr lang="da-DK" smtClean="0">
                <a:latin typeface="DM Sans 14pt" panose="020B0604020202020204" charset="0"/>
              </a:rPr>
              <a:t>7</a:t>
            </a:fld>
            <a:endParaRPr lang="da-DK">
              <a:latin typeface="DM Sans 14pt" panose="020B0604020202020204" charset="0"/>
            </a:endParaRPr>
          </a:p>
        </p:txBody>
      </p:sp>
      <p:grpSp>
        <p:nvGrpSpPr>
          <p:cNvPr id="16" name="Group 15">
            <a:extLst>
              <a:ext uri="{FF2B5EF4-FFF2-40B4-BE49-F238E27FC236}">
                <a16:creationId xmlns:a16="http://schemas.microsoft.com/office/drawing/2014/main" id="{99445E46-481D-9380-C1B6-4F4CEECD68CF}"/>
              </a:ext>
            </a:extLst>
          </p:cNvPr>
          <p:cNvGrpSpPr/>
          <p:nvPr/>
        </p:nvGrpSpPr>
        <p:grpSpPr>
          <a:xfrm>
            <a:off x="917955" y="3826267"/>
            <a:ext cx="900000" cy="900000"/>
            <a:chOff x="527607" y="3776619"/>
            <a:chExt cx="1008000" cy="1008000"/>
          </a:xfrm>
        </p:grpSpPr>
        <p:sp>
          <p:nvSpPr>
            <p:cNvPr id="15" name="Graphic 9">
              <a:extLst>
                <a:ext uri="{FF2B5EF4-FFF2-40B4-BE49-F238E27FC236}">
                  <a16:creationId xmlns:a16="http://schemas.microsoft.com/office/drawing/2014/main" id="{B77E8CB5-143B-86A0-8749-B89C4496EEA1}"/>
                </a:ext>
              </a:extLst>
            </p:cNvPr>
            <p:cNvSpPr/>
            <p:nvPr/>
          </p:nvSpPr>
          <p:spPr>
            <a:xfrm>
              <a:off x="527607" y="3776619"/>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sp>
          <p:nvSpPr>
            <p:cNvPr id="37" name="Freeform: Shape 327">
              <a:extLst>
                <a:ext uri="{FF2B5EF4-FFF2-40B4-BE49-F238E27FC236}">
                  <a16:creationId xmlns:a16="http://schemas.microsoft.com/office/drawing/2014/main" id="{5EC56DE8-AEC6-6786-CE77-95EF4E3DD282}"/>
                </a:ext>
              </a:extLst>
            </p:cNvPr>
            <p:cNvSpPr>
              <a:spLocks noChangeAspect="1"/>
            </p:cNvSpPr>
            <p:nvPr/>
          </p:nvSpPr>
          <p:spPr>
            <a:xfrm>
              <a:off x="599607" y="3848619"/>
              <a:ext cx="864000" cy="864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pic>
          <p:nvPicPr>
            <p:cNvPr id="10" name="Billede 9">
              <a:extLst>
                <a:ext uri="{FF2B5EF4-FFF2-40B4-BE49-F238E27FC236}">
                  <a16:creationId xmlns:a16="http://schemas.microsoft.com/office/drawing/2014/main" id="{CB23A1E5-5932-B48C-0CEF-EEBEF542DC08}"/>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779284" y="4026502"/>
              <a:ext cx="504645" cy="508235"/>
            </a:xfrm>
            <a:prstGeom prst="rect">
              <a:avLst/>
            </a:prstGeom>
          </p:spPr>
        </p:pic>
      </p:grpSp>
      <p:grpSp>
        <p:nvGrpSpPr>
          <p:cNvPr id="13" name="Group 12">
            <a:extLst>
              <a:ext uri="{FF2B5EF4-FFF2-40B4-BE49-F238E27FC236}">
                <a16:creationId xmlns:a16="http://schemas.microsoft.com/office/drawing/2014/main" id="{ECAC53CB-2AEB-5054-28B8-D4B0D044D5F2}"/>
              </a:ext>
            </a:extLst>
          </p:cNvPr>
          <p:cNvGrpSpPr/>
          <p:nvPr/>
        </p:nvGrpSpPr>
        <p:grpSpPr>
          <a:xfrm>
            <a:off x="2930331" y="3826267"/>
            <a:ext cx="900000" cy="900000"/>
            <a:chOff x="2891881" y="3776619"/>
            <a:chExt cx="1008000" cy="1008000"/>
          </a:xfrm>
        </p:grpSpPr>
        <p:sp>
          <p:nvSpPr>
            <p:cNvPr id="11" name="Graphic 9">
              <a:extLst>
                <a:ext uri="{FF2B5EF4-FFF2-40B4-BE49-F238E27FC236}">
                  <a16:creationId xmlns:a16="http://schemas.microsoft.com/office/drawing/2014/main" id="{62E52F0E-7435-40B5-6B67-6C23D21B24B3}"/>
                </a:ext>
              </a:extLst>
            </p:cNvPr>
            <p:cNvSpPr/>
            <p:nvPr/>
          </p:nvSpPr>
          <p:spPr>
            <a:xfrm>
              <a:off x="2891881" y="3776619"/>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sp>
          <p:nvSpPr>
            <p:cNvPr id="41" name="Freeform: Shape 327">
              <a:extLst>
                <a:ext uri="{FF2B5EF4-FFF2-40B4-BE49-F238E27FC236}">
                  <a16:creationId xmlns:a16="http://schemas.microsoft.com/office/drawing/2014/main" id="{86EBBFFF-DCBE-8F7D-9A9B-8C70CB4239CF}"/>
                </a:ext>
              </a:extLst>
            </p:cNvPr>
            <p:cNvSpPr>
              <a:spLocks noChangeAspect="1"/>
            </p:cNvSpPr>
            <p:nvPr/>
          </p:nvSpPr>
          <p:spPr>
            <a:xfrm>
              <a:off x="2963881" y="3848619"/>
              <a:ext cx="864000" cy="864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pic>
          <p:nvPicPr>
            <p:cNvPr id="4" name="Billede 3">
              <a:extLst>
                <a:ext uri="{FF2B5EF4-FFF2-40B4-BE49-F238E27FC236}">
                  <a16:creationId xmlns:a16="http://schemas.microsoft.com/office/drawing/2014/main" id="{D8BECF9C-09EE-0B50-73B0-94CD0AC736A8}"/>
                </a:ext>
              </a:extLst>
            </p:cNvPr>
            <p:cNvPicPr>
              <a:picLocks noChangeAspect="1"/>
            </p:cNvPicPr>
            <p:nvPr/>
          </p:nvPicPr>
          <p:blipFill>
            <a:blip r:embed="rId5">
              <a:biLevel thresh="50000"/>
              <a:extLst>
                <a:ext uri="{BEBA8EAE-BF5A-486C-A8C5-ECC9F3942E4B}">
                  <a14:imgProps xmlns:a14="http://schemas.microsoft.com/office/drawing/2010/main">
                    <a14:imgLayer r:embed="rId6">
                      <a14:imgEffect>
                        <a14:artisticPhotocopy/>
                      </a14:imgEffect>
                    </a14:imgLayer>
                  </a14:imgProps>
                </a:ext>
              </a:extLst>
            </a:blip>
            <a:stretch>
              <a:fillRect/>
            </a:stretch>
          </p:blipFill>
          <p:spPr>
            <a:xfrm>
              <a:off x="3118326" y="4001090"/>
              <a:ext cx="555110" cy="559059"/>
            </a:xfrm>
            <a:prstGeom prst="rect">
              <a:avLst/>
            </a:prstGeom>
          </p:spPr>
        </p:pic>
      </p:grpSp>
      <p:grpSp>
        <p:nvGrpSpPr>
          <p:cNvPr id="20" name="Group 19">
            <a:extLst>
              <a:ext uri="{FF2B5EF4-FFF2-40B4-BE49-F238E27FC236}">
                <a16:creationId xmlns:a16="http://schemas.microsoft.com/office/drawing/2014/main" id="{E233E4D2-D314-16B9-083F-B9321E08DEB8}"/>
              </a:ext>
            </a:extLst>
          </p:cNvPr>
          <p:cNvGrpSpPr/>
          <p:nvPr/>
        </p:nvGrpSpPr>
        <p:grpSpPr>
          <a:xfrm>
            <a:off x="917955" y="5232545"/>
            <a:ext cx="900000" cy="900000"/>
            <a:chOff x="654898" y="5079863"/>
            <a:chExt cx="1008000" cy="1008000"/>
          </a:xfrm>
        </p:grpSpPr>
        <p:sp>
          <p:nvSpPr>
            <p:cNvPr id="17" name="Graphic 9">
              <a:extLst>
                <a:ext uri="{FF2B5EF4-FFF2-40B4-BE49-F238E27FC236}">
                  <a16:creationId xmlns:a16="http://schemas.microsoft.com/office/drawing/2014/main" id="{EEF32500-8B20-BE1F-0E58-D4944BA05274}"/>
                </a:ext>
              </a:extLst>
            </p:cNvPr>
            <p:cNvSpPr/>
            <p:nvPr/>
          </p:nvSpPr>
          <p:spPr>
            <a:xfrm>
              <a:off x="654898" y="5079863"/>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grpSp>
          <p:nvGrpSpPr>
            <p:cNvPr id="52" name="Group 51">
              <a:extLst>
                <a:ext uri="{FF2B5EF4-FFF2-40B4-BE49-F238E27FC236}">
                  <a16:creationId xmlns:a16="http://schemas.microsoft.com/office/drawing/2014/main" id="{161683D0-9BA6-6F54-CAB0-21127CB8B7E1}"/>
                </a:ext>
              </a:extLst>
            </p:cNvPr>
            <p:cNvGrpSpPr/>
            <p:nvPr/>
          </p:nvGrpSpPr>
          <p:grpSpPr>
            <a:xfrm>
              <a:off x="726898" y="5151863"/>
              <a:ext cx="864000" cy="864000"/>
              <a:chOff x="449609" y="5640833"/>
              <a:chExt cx="616354" cy="612000"/>
            </a:xfrm>
          </p:grpSpPr>
          <p:sp>
            <p:nvSpPr>
              <p:cNvPr id="38" name="Freeform: Shape 327">
                <a:extLst>
                  <a:ext uri="{FF2B5EF4-FFF2-40B4-BE49-F238E27FC236}">
                    <a16:creationId xmlns:a16="http://schemas.microsoft.com/office/drawing/2014/main" id="{58584270-9539-6BBB-5799-6A741CC87E18}"/>
                  </a:ext>
                </a:extLst>
              </p:cNvPr>
              <p:cNvSpPr>
                <a:spLocks noChangeAspect="1"/>
              </p:cNvSpPr>
              <p:nvPr/>
            </p:nvSpPr>
            <p:spPr>
              <a:xfrm>
                <a:off x="449609" y="5640833"/>
                <a:ext cx="616354" cy="612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effectLst/>
                  <a:uLnTx/>
                  <a:uFillTx/>
                  <a:latin typeface="Verdana" panose="020B0604030504040204" pitchFamily="34" charset="0"/>
                  <a:ea typeface="Verdana" panose="020B0604030504040204" pitchFamily="34" charset="0"/>
                </a:endParaRPr>
              </a:p>
            </p:txBody>
          </p:sp>
          <p:pic>
            <p:nvPicPr>
              <p:cNvPr id="12" name="Billede 11">
                <a:extLst>
                  <a:ext uri="{FF2B5EF4-FFF2-40B4-BE49-F238E27FC236}">
                    <a16:creationId xmlns:a16="http://schemas.microsoft.com/office/drawing/2014/main" id="{0ACE6772-1BDF-BA67-E13B-0B87A91FA939}"/>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577786" y="5766833"/>
                <a:ext cx="360000" cy="360000"/>
              </a:xfrm>
              <a:prstGeom prst="rect">
                <a:avLst/>
              </a:prstGeom>
            </p:spPr>
          </p:pic>
        </p:grpSp>
      </p:grpSp>
      <p:grpSp>
        <p:nvGrpSpPr>
          <p:cNvPr id="19" name="Group 18">
            <a:extLst>
              <a:ext uri="{FF2B5EF4-FFF2-40B4-BE49-F238E27FC236}">
                <a16:creationId xmlns:a16="http://schemas.microsoft.com/office/drawing/2014/main" id="{AD96A4FC-F0EA-C351-D876-D8DD65A20B10}"/>
              </a:ext>
            </a:extLst>
          </p:cNvPr>
          <p:cNvGrpSpPr/>
          <p:nvPr/>
        </p:nvGrpSpPr>
        <p:grpSpPr>
          <a:xfrm>
            <a:off x="2930331" y="5232545"/>
            <a:ext cx="900000" cy="900000"/>
            <a:chOff x="2937423" y="5129766"/>
            <a:chExt cx="1008000" cy="1008000"/>
          </a:xfrm>
        </p:grpSpPr>
        <p:sp>
          <p:nvSpPr>
            <p:cNvPr id="18" name="Graphic 9">
              <a:extLst>
                <a:ext uri="{FF2B5EF4-FFF2-40B4-BE49-F238E27FC236}">
                  <a16:creationId xmlns:a16="http://schemas.microsoft.com/office/drawing/2014/main" id="{57871AF4-BCFF-59ED-1931-B7410DB77A13}"/>
                </a:ext>
              </a:extLst>
            </p:cNvPr>
            <p:cNvSpPr/>
            <p:nvPr/>
          </p:nvSpPr>
          <p:spPr>
            <a:xfrm>
              <a:off x="2937423" y="5129766"/>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grpSp>
          <p:nvGrpSpPr>
            <p:cNvPr id="53" name="Group 52">
              <a:extLst>
                <a:ext uri="{FF2B5EF4-FFF2-40B4-BE49-F238E27FC236}">
                  <a16:creationId xmlns:a16="http://schemas.microsoft.com/office/drawing/2014/main" id="{66C64D1C-9224-3327-AF82-966EFDEDF44F}"/>
                </a:ext>
              </a:extLst>
            </p:cNvPr>
            <p:cNvGrpSpPr/>
            <p:nvPr/>
          </p:nvGrpSpPr>
          <p:grpSpPr>
            <a:xfrm>
              <a:off x="3009423" y="5201766"/>
              <a:ext cx="864000" cy="864000"/>
              <a:chOff x="2815186" y="5640833"/>
              <a:chExt cx="616354" cy="612000"/>
            </a:xfrm>
          </p:grpSpPr>
          <p:sp>
            <p:nvSpPr>
              <p:cNvPr id="42" name="Freeform: Shape 327">
                <a:extLst>
                  <a:ext uri="{FF2B5EF4-FFF2-40B4-BE49-F238E27FC236}">
                    <a16:creationId xmlns:a16="http://schemas.microsoft.com/office/drawing/2014/main" id="{2987BE18-8C4C-8194-18BA-C8A03E1A03AF}"/>
                  </a:ext>
                </a:extLst>
              </p:cNvPr>
              <p:cNvSpPr>
                <a:spLocks noChangeAspect="1"/>
              </p:cNvSpPr>
              <p:nvPr/>
            </p:nvSpPr>
            <p:spPr>
              <a:xfrm>
                <a:off x="2815186" y="5640833"/>
                <a:ext cx="616354" cy="612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effectLst/>
                  <a:uLnTx/>
                  <a:uFillTx/>
                  <a:latin typeface="Verdana" panose="020B0604030504040204" pitchFamily="34" charset="0"/>
                  <a:ea typeface="Verdana" panose="020B0604030504040204" pitchFamily="34" charset="0"/>
                </a:endParaRPr>
              </a:p>
            </p:txBody>
          </p:sp>
          <p:pic>
            <p:nvPicPr>
              <p:cNvPr id="28" name="Grafik 27" descr="Bygger mur med massiv udfyldning">
                <a:extLst>
                  <a:ext uri="{FF2B5EF4-FFF2-40B4-BE49-F238E27FC236}">
                    <a16:creationId xmlns:a16="http://schemas.microsoft.com/office/drawing/2014/main" id="{9F6A22C2-5705-2721-0EBF-6551A9165F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65577" y="5689047"/>
                <a:ext cx="515573" cy="515573"/>
              </a:xfrm>
              <a:prstGeom prst="rect">
                <a:avLst/>
              </a:prstGeom>
            </p:spPr>
          </p:pic>
        </p:grpSp>
      </p:grpSp>
      <p:sp>
        <p:nvSpPr>
          <p:cNvPr id="57" name="Rektangel 15">
            <a:extLst>
              <a:ext uri="{FF2B5EF4-FFF2-40B4-BE49-F238E27FC236}">
                <a16:creationId xmlns:a16="http://schemas.microsoft.com/office/drawing/2014/main" id="{6C21E224-0596-CBC0-78AC-89E11C8E7D76}"/>
              </a:ext>
            </a:extLst>
          </p:cNvPr>
          <p:cNvSpPr/>
          <p:nvPr/>
        </p:nvSpPr>
        <p:spPr>
          <a:xfrm>
            <a:off x="5789814" y="1706880"/>
            <a:ext cx="6149852" cy="4263395"/>
          </a:xfrm>
          <a:prstGeom prst="rect">
            <a:avLst/>
          </a:prstGeom>
          <a:noFill/>
          <a:ln w="12700">
            <a:no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effektiv måde at indlede jeres ESG-rapport på er ved at starte med en kortfattet introduktion, der beskriver, hvem I er som organisation, og hvilke kerneaktiviteter I beskæftiger jer med. </a:t>
            </a:r>
            <a:endParaRPr lang="da-DK" sz="1100" b="1"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342900" lvl="0" indent="-342900">
              <a:buFont typeface="Symbol" pitchFamily="2" charset="2"/>
              <a:buChar char=""/>
            </a:pPr>
            <a:endPar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Rounded Corners 3">
            <a:extLst>
              <a:ext uri="{FF2B5EF4-FFF2-40B4-BE49-F238E27FC236}">
                <a16:creationId xmlns:a16="http://schemas.microsoft.com/office/drawing/2014/main" id="{B8586716-803E-7B07-3A5C-7863076B4897}"/>
              </a:ext>
            </a:extLst>
          </p:cNvPr>
          <p:cNvSpPr/>
          <p:nvPr/>
        </p:nvSpPr>
        <p:spPr>
          <a:xfrm>
            <a:off x="0" y="289610"/>
            <a:ext cx="5478522" cy="3284738"/>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478522"/>
                      <a:gd name="connsiteY0" fmla="*/ 0 h 3284738"/>
                      <a:gd name="connsiteX1" fmla="*/ 0 w 5478522"/>
                      <a:gd name="connsiteY1" fmla="*/ 0 h 3284738"/>
                      <a:gd name="connsiteX2" fmla="*/ 739600 w 5478522"/>
                      <a:gd name="connsiteY2" fmla="*/ 0 h 3284738"/>
                      <a:gd name="connsiteX3" fmla="*/ 1260060 w 5478522"/>
                      <a:gd name="connsiteY3" fmla="*/ 0 h 3284738"/>
                      <a:gd name="connsiteX4" fmla="*/ 1890090 w 5478522"/>
                      <a:gd name="connsiteY4" fmla="*/ 0 h 3284738"/>
                      <a:gd name="connsiteX5" fmla="*/ 2684476 w 5478522"/>
                      <a:gd name="connsiteY5" fmla="*/ 0 h 3284738"/>
                      <a:gd name="connsiteX6" fmla="*/ 3369291 w 5478522"/>
                      <a:gd name="connsiteY6" fmla="*/ 0 h 3284738"/>
                      <a:gd name="connsiteX7" fmla="*/ 4108892 w 5478522"/>
                      <a:gd name="connsiteY7" fmla="*/ 0 h 3284738"/>
                      <a:gd name="connsiteX8" fmla="*/ 4738922 w 5478522"/>
                      <a:gd name="connsiteY8" fmla="*/ 0 h 3284738"/>
                      <a:gd name="connsiteX9" fmla="*/ 5478522 w 5478522"/>
                      <a:gd name="connsiteY9" fmla="*/ 0 h 3284738"/>
                      <a:gd name="connsiteX10" fmla="*/ 5478522 w 5478522"/>
                      <a:gd name="connsiteY10" fmla="*/ 0 h 3284738"/>
                      <a:gd name="connsiteX11" fmla="*/ 5478522 w 5478522"/>
                      <a:gd name="connsiteY11" fmla="*/ 722642 h 3284738"/>
                      <a:gd name="connsiteX12" fmla="*/ 5478522 w 5478522"/>
                      <a:gd name="connsiteY12" fmla="*/ 1313895 h 3284738"/>
                      <a:gd name="connsiteX13" fmla="*/ 5478522 w 5478522"/>
                      <a:gd name="connsiteY13" fmla="*/ 1872301 h 3284738"/>
                      <a:gd name="connsiteX14" fmla="*/ 5478522 w 5478522"/>
                      <a:gd name="connsiteY14" fmla="*/ 2463554 h 3284738"/>
                      <a:gd name="connsiteX15" fmla="*/ 5478522 w 5478522"/>
                      <a:gd name="connsiteY15" fmla="*/ 3284738 h 3284738"/>
                      <a:gd name="connsiteX16" fmla="*/ 5478522 w 5478522"/>
                      <a:gd name="connsiteY16" fmla="*/ 3284738 h 3284738"/>
                      <a:gd name="connsiteX17" fmla="*/ 4793707 w 5478522"/>
                      <a:gd name="connsiteY17" fmla="*/ 3284738 h 3284738"/>
                      <a:gd name="connsiteX18" fmla="*/ 4108892 w 5478522"/>
                      <a:gd name="connsiteY18" fmla="*/ 3284738 h 3284738"/>
                      <a:gd name="connsiteX19" fmla="*/ 3533647 w 5478522"/>
                      <a:gd name="connsiteY19" fmla="*/ 3284738 h 3284738"/>
                      <a:gd name="connsiteX20" fmla="*/ 2848831 w 5478522"/>
                      <a:gd name="connsiteY20" fmla="*/ 3284738 h 3284738"/>
                      <a:gd name="connsiteX21" fmla="*/ 2164016 w 5478522"/>
                      <a:gd name="connsiteY21" fmla="*/ 3284738 h 3284738"/>
                      <a:gd name="connsiteX22" fmla="*/ 1479201 w 5478522"/>
                      <a:gd name="connsiteY22" fmla="*/ 3284738 h 3284738"/>
                      <a:gd name="connsiteX23" fmla="*/ 794386 w 5478522"/>
                      <a:gd name="connsiteY23" fmla="*/ 3284738 h 3284738"/>
                      <a:gd name="connsiteX24" fmla="*/ 0 w 5478522"/>
                      <a:gd name="connsiteY24" fmla="*/ 3284738 h 3284738"/>
                      <a:gd name="connsiteX25" fmla="*/ 0 w 5478522"/>
                      <a:gd name="connsiteY25" fmla="*/ 3284738 h 3284738"/>
                      <a:gd name="connsiteX26" fmla="*/ 0 w 5478522"/>
                      <a:gd name="connsiteY26" fmla="*/ 2594943 h 3284738"/>
                      <a:gd name="connsiteX27" fmla="*/ 0 w 5478522"/>
                      <a:gd name="connsiteY27" fmla="*/ 1905148 h 3284738"/>
                      <a:gd name="connsiteX28" fmla="*/ 0 w 5478522"/>
                      <a:gd name="connsiteY28" fmla="*/ 1215353 h 3284738"/>
                      <a:gd name="connsiteX29" fmla="*/ 0 w 5478522"/>
                      <a:gd name="connsiteY29" fmla="*/ 0 h 3284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78522" h="3284738" fill="none" extrusionOk="0">
                        <a:moveTo>
                          <a:pt x="0" y="0"/>
                        </a:moveTo>
                        <a:lnTo>
                          <a:pt x="0" y="0"/>
                        </a:lnTo>
                        <a:cubicBezTo>
                          <a:pt x="190738" y="-12576"/>
                          <a:pt x="546023" y="-34226"/>
                          <a:pt x="739600" y="0"/>
                        </a:cubicBezTo>
                        <a:cubicBezTo>
                          <a:pt x="933177" y="34226"/>
                          <a:pt x="1006326" y="-25980"/>
                          <a:pt x="1260060" y="0"/>
                        </a:cubicBezTo>
                        <a:cubicBezTo>
                          <a:pt x="1513794" y="25980"/>
                          <a:pt x="1690853" y="17580"/>
                          <a:pt x="1890090" y="0"/>
                        </a:cubicBezTo>
                        <a:cubicBezTo>
                          <a:pt x="2089327" y="-17580"/>
                          <a:pt x="2475748" y="-26409"/>
                          <a:pt x="2684476" y="0"/>
                        </a:cubicBezTo>
                        <a:cubicBezTo>
                          <a:pt x="2893204" y="26409"/>
                          <a:pt x="3047252" y="19694"/>
                          <a:pt x="3369291" y="0"/>
                        </a:cubicBezTo>
                        <a:cubicBezTo>
                          <a:pt x="3691331" y="-19694"/>
                          <a:pt x="3867852" y="2798"/>
                          <a:pt x="4108892" y="0"/>
                        </a:cubicBezTo>
                        <a:cubicBezTo>
                          <a:pt x="4349932" y="-2798"/>
                          <a:pt x="4451025" y="16991"/>
                          <a:pt x="4738922" y="0"/>
                        </a:cubicBezTo>
                        <a:cubicBezTo>
                          <a:pt x="5026819" y="-16991"/>
                          <a:pt x="5311826" y="-27981"/>
                          <a:pt x="5478522" y="0"/>
                        </a:cubicBezTo>
                        <a:lnTo>
                          <a:pt x="5478522" y="0"/>
                        </a:lnTo>
                        <a:cubicBezTo>
                          <a:pt x="5450225" y="156900"/>
                          <a:pt x="5511443" y="506264"/>
                          <a:pt x="5478522" y="722642"/>
                        </a:cubicBezTo>
                        <a:cubicBezTo>
                          <a:pt x="5445601" y="939020"/>
                          <a:pt x="5502531" y="1119277"/>
                          <a:pt x="5478522" y="1313895"/>
                        </a:cubicBezTo>
                        <a:cubicBezTo>
                          <a:pt x="5454513" y="1508513"/>
                          <a:pt x="5494066" y="1752360"/>
                          <a:pt x="5478522" y="1872301"/>
                        </a:cubicBezTo>
                        <a:cubicBezTo>
                          <a:pt x="5462978" y="1992242"/>
                          <a:pt x="5507300" y="2190559"/>
                          <a:pt x="5478522" y="2463554"/>
                        </a:cubicBezTo>
                        <a:cubicBezTo>
                          <a:pt x="5449744" y="2736549"/>
                          <a:pt x="5481651" y="3025971"/>
                          <a:pt x="5478522" y="3284738"/>
                        </a:cubicBezTo>
                        <a:lnTo>
                          <a:pt x="5478522" y="3284738"/>
                        </a:lnTo>
                        <a:cubicBezTo>
                          <a:pt x="5200125" y="3275380"/>
                          <a:pt x="5083275" y="3267153"/>
                          <a:pt x="4793707" y="3284738"/>
                        </a:cubicBezTo>
                        <a:cubicBezTo>
                          <a:pt x="4504139" y="3302323"/>
                          <a:pt x="4286708" y="3261805"/>
                          <a:pt x="4108892" y="3284738"/>
                        </a:cubicBezTo>
                        <a:cubicBezTo>
                          <a:pt x="3931077" y="3307671"/>
                          <a:pt x="3812120" y="3272791"/>
                          <a:pt x="3533647" y="3284738"/>
                        </a:cubicBezTo>
                        <a:cubicBezTo>
                          <a:pt x="3255175" y="3296685"/>
                          <a:pt x="3084061" y="3306765"/>
                          <a:pt x="2848831" y="3284738"/>
                        </a:cubicBezTo>
                        <a:cubicBezTo>
                          <a:pt x="2613601" y="3262711"/>
                          <a:pt x="2402907" y="3318759"/>
                          <a:pt x="2164016" y="3284738"/>
                        </a:cubicBezTo>
                        <a:cubicBezTo>
                          <a:pt x="1925125" y="3250717"/>
                          <a:pt x="1808461" y="3274581"/>
                          <a:pt x="1479201" y="3284738"/>
                        </a:cubicBezTo>
                        <a:cubicBezTo>
                          <a:pt x="1149942" y="3294895"/>
                          <a:pt x="1099836" y="3304109"/>
                          <a:pt x="794386" y="3284738"/>
                        </a:cubicBezTo>
                        <a:cubicBezTo>
                          <a:pt x="488937" y="3265367"/>
                          <a:pt x="365597" y="3283340"/>
                          <a:pt x="0" y="3284738"/>
                        </a:cubicBezTo>
                        <a:lnTo>
                          <a:pt x="0" y="3284738"/>
                        </a:lnTo>
                        <a:cubicBezTo>
                          <a:pt x="5275" y="2950478"/>
                          <a:pt x="-10306" y="2756029"/>
                          <a:pt x="0" y="2594943"/>
                        </a:cubicBezTo>
                        <a:cubicBezTo>
                          <a:pt x="10306" y="2433858"/>
                          <a:pt x="-12715" y="2132690"/>
                          <a:pt x="0" y="1905148"/>
                        </a:cubicBezTo>
                        <a:cubicBezTo>
                          <a:pt x="12715" y="1677606"/>
                          <a:pt x="-14582" y="1465240"/>
                          <a:pt x="0" y="1215353"/>
                        </a:cubicBezTo>
                        <a:cubicBezTo>
                          <a:pt x="14582" y="965467"/>
                          <a:pt x="-32279" y="386723"/>
                          <a:pt x="0" y="0"/>
                        </a:cubicBezTo>
                        <a:close/>
                      </a:path>
                      <a:path w="5478522" h="3284738" stroke="0" extrusionOk="0">
                        <a:moveTo>
                          <a:pt x="0" y="0"/>
                        </a:moveTo>
                        <a:lnTo>
                          <a:pt x="0" y="0"/>
                        </a:lnTo>
                        <a:cubicBezTo>
                          <a:pt x="219641" y="31270"/>
                          <a:pt x="357407" y="-11982"/>
                          <a:pt x="630030" y="0"/>
                        </a:cubicBezTo>
                        <a:cubicBezTo>
                          <a:pt x="902653" y="11982"/>
                          <a:pt x="904303" y="-1430"/>
                          <a:pt x="1150490" y="0"/>
                        </a:cubicBezTo>
                        <a:cubicBezTo>
                          <a:pt x="1396677" y="1430"/>
                          <a:pt x="1556203" y="36966"/>
                          <a:pt x="1944875" y="0"/>
                        </a:cubicBezTo>
                        <a:cubicBezTo>
                          <a:pt x="2333547" y="-36966"/>
                          <a:pt x="2411941" y="10805"/>
                          <a:pt x="2574905" y="0"/>
                        </a:cubicBezTo>
                        <a:cubicBezTo>
                          <a:pt x="2737869" y="-10805"/>
                          <a:pt x="3046410" y="27300"/>
                          <a:pt x="3204935" y="0"/>
                        </a:cubicBezTo>
                        <a:cubicBezTo>
                          <a:pt x="3363460" y="-27300"/>
                          <a:pt x="3745230" y="-35254"/>
                          <a:pt x="3999321" y="0"/>
                        </a:cubicBezTo>
                        <a:cubicBezTo>
                          <a:pt x="4253412" y="35254"/>
                          <a:pt x="4290734" y="2454"/>
                          <a:pt x="4574566" y="0"/>
                        </a:cubicBezTo>
                        <a:cubicBezTo>
                          <a:pt x="4858398" y="-2454"/>
                          <a:pt x="5218415" y="-9954"/>
                          <a:pt x="5478522" y="0"/>
                        </a:cubicBezTo>
                        <a:lnTo>
                          <a:pt x="5478522" y="0"/>
                        </a:lnTo>
                        <a:cubicBezTo>
                          <a:pt x="5502472" y="186509"/>
                          <a:pt x="5474659" y="370308"/>
                          <a:pt x="5478522" y="722642"/>
                        </a:cubicBezTo>
                        <a:cubicBezTo>
                          <a:pt x="5482385" y="1074976"/>
                          <a:pt x="5484188" y="1180211"/>
                          <a:pt x="5478522" y="1313895"/>
                        </a:cubicBezTo>
                        <a:cubicBezTo>
                          <a:pt x="5472856" y="1447579"/>
                          <a:pt x="5473216" y="1720011"/>
                          <a:pt x="5478522" y="1970843"/>
                        </a:cubicBezTo>
                        <a:cubicBezTo>
                          <a:pt x="5483828" y="2221675"/>
                          <a:pt x="5453117" y="2376243"/>
                          <a:pt x="5478522" y="2660638"/>
                        </a:cubicBezTo>
                        <a:cubicBezTo>
                          <a:pt x="5503927" y="2945034"/>
                          <a:pt x="5490240" y="2994960"/>
                          <a:pt x="5478522" y="3284738"/>
                        </a:cubicBezTo>
                        <a:lnTo>
                          <a:pt x="5478522" y="3284738"/>
                        </a:lnTo>
                        <a:cubicBezTo>
                          <a:pt x="5185610" y="3318359"/>
                          <a:pt x="4991308" y="3299237"/>
                          <a:pt x="4793707" y="3284738"/>
                        </a:cubicBezTo>
                        <a:cubicBezTo>
                          <a:pt x="4596106" y="3270239"/>
                          <a:pt x="4469393" y="3285204"/>
                          <a:pt x="4218462" y="3284738"/>
                        </a:cubicBezTo>
                        <a:cubicBezTo>
                          <a:pt x="3967532" y="3284272"/>
                          <a:pt x="3674596" y="3286451"/>
                          <a:pt x="3533647" y="3284738"/>
                        </a:cubicBezTo>
                        <a:cubicBezTo>
                          <a:pt x="3392698" y="3283025"/>
                          <a:pt x="3131100" y="3317861"/>
                          <a:pt x="2739261" y="3284738"/>
                        </a:cubicBezTo>
                        <a:cubicBezTo>
                          <a:pt x="2347422" y="3251615"/>
                          <a:pt x="2191813" y="3267000"/>
                          <a:pt x="2054446" y="3284738"/>
                        </a:cubicBezTo>
                        <a:cubicBezTo>
                          <a:pt x="1917079" y="3302476"/>
                          <a:pt x="1757040" y="3259812"/>
                          <a:pt x="1533986" y="3284738"/>
                        </a:cubicBezTo>
                        <a:cubicBezTo>
                          <a:pt x="1310932" y="3309664"/>
                          <a:pt x="1082279" y="3268263"/>
                          <a:pt x="958741" y="3284738"/>
                        </a:cubicBezTo>
                        <a:cubicBezTo>
                          <a:pt x="835203" y="3301213"/>
                          <a:pt x="417808" y="3320151"/>
                          <a:pt x="0" y="3284738"/>
                        </a:cubicBezTo>
                        <a:lnTo>
                          <a:pt x="0" y="3284738"/>
                        </a:lnTo>
                        <a:cubicBezTo>
                          <a:pt x="11232" y="3091529"/>
                          <a:pt x="-8726" y="2927550"/>
                          <a:pt x="0" y="2627790"/>
                        </a:cubicBezTo>
                        <a:cubicBezTo>
                          <a:pt x="8726" y="2328030"/>
                          <a:pt x="-30451" y="2190913"/>
                          <a:pt x="0" y="1970843"/>
                        </a:cubicBezTo>
                        <a:cubicBezTo>
                          <a:pt x="30451" y="1750773"/>
                          <a:pt x="-8908" y="1613931"/>
                          <a:pt x="0" y="1346743"/>
                        </a:cubicBezTo>
                        <a:cubicBezTo>
                          <a:pt x="8908" y="1079555"/>
                          <a:pt x="22971" y="973526"/>
                          <a:pt x="0" y="788337"/>
                        </a:cubicBezTo>
                        <a:cubicBezTo>
                          <a:pt x="-22971" y="603148"/>
                          <a:pt x="11761" y="161684"/>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da-DK" sz="1100" i="1" dirty="0">
                <a:solidFill>
                  <a:schemeClr val="bg1">
                    <a:lumMod val="65000"/>
                  </a:schemeClr>
                </a:solidFill>
                <a:latin typeface="Verdana" panose="020B0604030504040204" pitchFamily="34" charset="0"/>
                <a:ea typeface="Verdana" panose="020B0604030504040204" pitchFamily="34" charset="0"/>
              </a:rPr>
              <a:t>Indsæt et relevant billede fra boligorganisationen eller en visualisering, evt. et kort over lokationer, hvor du fremhæver jeres lokationer med kontorer og afdelinger.</a:t>
            </a:r>
          </a:p>
        </p:txBody>
      </p:sp>
      <p:sp>
        <p:nvSpPr>
          <p:cNvPr id="22" name="Rectangle: Rounded Corners 21">
            <a:extLst>
              <a:ext uri="{FF2B5EF4-FFF2-40B4-BE49-F238E27FC236}">
                <a16:creationId xmlns:a16="http://schemas.microsoft.com/office/drawing/2014/main" id="{FCAAF9CF-97B0-F9D6-EE47-B0021A11C7BE}"/>
              </a:ext>
            </a:extLst>
          </p:cNvPr>
          <p:cNvSpPr/>
          <p:nvPr/>
        </p:nvSpPr>
        <p:spPr>
          <a:xfrm flipH="1">
            <a:off x="0" y="516335"/>
            <a:ext cx="2819400" cy="417293"/>
          </a:xfrm>
          <a:prstGeom prst="roundRect">
            <a:avLst>
              <a:gd name="adj" fmla="val 0"/>
            </a:avLst>
          </a:prstGeom>
          <a:solidFill>
            <a:srgbClr val="005850"/>
          </a:solidFill>
          <a:ln w="12700">
            <a:solidFill>
              <a:srgbClr val="0058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000" b="1" noProof="0">
                <a:solidFill>
                  <a:schemeClr val="bg1"/>
                </a:solidFill>
                <a:latin typeface="Verdana" panose="020B0604030504040204" pitchFamily="34" charset="0"/>
                <a:ea typeface="Verdana" panose="020B0604030504040204" pitchFamily="34" charset="0"/>
              </a:rPr>
              <a:t>Oversigt over [Boligorganisationen]</a:t>
            </a:r>
          </a:p>
        </p:txBody>
      </p:sp>
      <p:sp>
        <p:nvSpPr>
          <p:cNvPr id="31" name="Rectangle: Rounded Corners 30">
            <a:extLst>
              <a:ext uri="{FF2B5EF4-FFF2-40B4-BE49-F238E27FC236}">
                <a16:creationId xmlns:a16="http://schemas.microsoft.com/office/drawing/2014/main" id="{B0C6ED03-75D0-2E97-14AE-EE44E9415035}"/>
              </a:ext>
            </a:extLst>
          </p:cNvPr>
          <p:cNvSpPr/>
          <p:nvPr/>
        </p:nvSpPr>
        <p:spPr>
          <a:xfrm flipH="1">
            <a:off x="2392162" y="6190793"/>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igangværende byggerier</a:t>
            </a:r>
          </a:p>
        </p:txBody>
      </p:sp>
      <p:sp>
        <p:nvSpPr>
          <p:cNvPr id="32" name="Rectangle: Rounded Corners 31">
            <a:extLst>
              <a:ext uri="{FF2B5EF4-FFF2-40B4-BE49-F238E27FC236}">
                <a16:creationId xmlns:a16="http://schemas.microsoft.com/office/drawing/2014/main" id="{FB4C8BE2-9E90-82D2-968E-A38FEB9D6ADB}"/>
              </a:ext>
            </a:extLst>
          </p:cNvPr>
          <p:cNvSpPr/>
          <p:nvPr/>
        </p:nvSpPr>
        <p:spPr>
          <a:xfrm flipH="1">
            <a:off x="2392162" y="4780153"/>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m2</a:t>
            </a:r>
          </a:p>
        </p:txBody>
      </p:sp>
      <p:sp>
        <p:nvSpPr>
          <p:cNvPr id="33" name="Rectangle: Rounded Corners 32">
            <a:extLst>
              <a:ext uri="{FF2B5EF4-FFF2-40B4-BE49-F238E27FC236}">
                <a16:creationId xmlns:a16="http://schemas.microsoft.com/office/drawing/2014/main" id="{4A75ED41-B3D5-479E-BDD3-E9609690C751}"/>
              </a:ext>
            </a:extLst>
          </p:cNvPr>
          <p:cNvSpPr/>
          <p:nvPr/>
        </p:nvSpPr>
        <p:spPr>
          <a:xfrm flipH="1">
            <a:off x="379786" y="6196737"/>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afdelinger</a:t>
            </a:r>
          </a:p>
        </p:txBody>
      </p:sp>
    </p:spTree>
    <p:extLst>
      <p:ext uri="{BB962C8B-B14F-4D97-AF65-F5344CB8AC3E}">
        <p14:creationId xmlns:p14="http://schemas.microsoft.com/office/powerpoint/2010/main" val="14214392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a:extLst>
            <a:ext uri="{FF2B5EF4-FFF2-40B4-BE49-F238E27FC236}">
              <a16:creationId xmlns:a16="http://schemas.microsoft.com/office/drawing/2014/main" id="{FF8DA116-A497-4BA2-9C25-4779839963F5}"/>
            </a:ext>
          </a:extLst>
        </p:cNvPr>
        <p:cNvGrpSpPr/>
        <p:nvPr/>
      </p:nvGrpSpPr>
      <p:grpSpPr>
        <a:xfrm>
          <a:off x="0" y="0"/>
          <a:ext cx="0" cy="0"/>
          <a:chOff x="0" y="0"/>
          <a:chExt cx="0" cy="0"/>
        </a:xfrm>
      </p:grpSpPr>
      <p:sp>
        <p:nvSpPr>
          <p:cNvPr id="10" name="Rectangle: Top Corners Rounded 40">
            <a:extLst>
              <a:ext uri="{FF2B5EF4-FFF2-40B4-BE49-F238E27FC236}">
                <a16:creationId xmlns:a16="http://schemas.microsoft.com/office/drawing/2014/main" id="{B35092F0-3372-5319-151D-6DA299940EAD}"/>
              </a:ext>
            </a:extLst>
          </p:cNvPr>
          <p:cNvSpPr/>
          <p:nvPr/>
        </p:nvSpPr>
        <p:spPr>
          <a:xfrm rot="5400000" flipH="1">
            <a:off x="1493411" y="626524"/>
            <a:ext cx="3918230" cy="6905078"/>
          </a:xfrm>
          <a:custGeom>
            <a:avLst/>
            <a:gdLst>
              <a:gd name="connsiteX0" fmla="*/ 275875 w 1655214"/>
              <a:gd name="connsiteY0" fmla="*/ 0 h 6374003"/>
              <a:gd name="connsiteX1" fmla="*/ 1379339 w 1655214"/>
              <a:gd name="connsiteY1" fmla="*/ 0 h 6374003"/>
              <a:gd name="connsiteX2" fmla="*/ 1655214 w 1655214"/>
              <a:gd name="connsiteY2" fmla="*/ 275875 h 6374003"/>
              <a:gd name="connsiteX3" fmla="*/ 1655214 w 1655214"/>
              <a:gd name="connsiteY3" fmla="*/ 6374003 h 6374003"/>
              <a:gd name="connsiteX4" fmla="*/ 1655214 w 1655214"/>
              <a:gd name="connsiteY4" fmla="*/ 6374003 h 6374003"/>
              <a:gd name="connsiteX5" fmla="*/ 0 w 1655214"/>
              <a:gd name="connsiteY5" fmla="*/ 6374003 h 6374003"/>
              <a:gd name="connsiteX6" fmla="*/ 0 w 1655214"/>
              <a:gd name="connsiteY6" fmla="*/ 6374003 h 6374003"/>
              <a:gd name="connsiteX7" fmla="*/ 0 w 1655214"/>
              <a:gd name="connsiteY7" fmla="*/ 275875 h 6374003"/>
              <a:gd name="connsiteX8" fmla="*/ 275875 w 1655214"/>
              <a:gd name="connsiteY8" fmla="*/ 0 h 6374003"/>
              <a:gd name="connsiteX0" fmla="*/ 0 w 1655214"/>
              <a:gd name="connsiteY0" fmla="*/ 6374003 h 6465443"/>
              <a:gd name="connsiteX1" fmla="*/ 0 w 1655214"/>
              <a:gd name="connsiteY1" fmla="*/ 275875 h 6465443"/>
              <a:gd name="connsiteX2" fmla="*/ 275875 w 1655214"/>
              <a:gd name="connsiteY2" fmla="*/ 0 h 6465443"/>
              <a:gd name="connsiteX3" fmla="*/ 1379339 w 1655214"/>
              <a:gd name="connsiteY3" fmla="*/ 0 h 6465443"/>
              <a:gd name="connsiteX4" fmla="*/ 1655214 w 1655214"/>
              <a:gd name="connsiteY4" fmla="*/ 275875 h 6465443"/>
              <a:gd name="connsiteX5" fmla="*/ 1655214 w 1655214"/>
              <a:gd name="connsiteY5" fmla="*/ 6374003 h 6465443"/>
              <a:gd name="connsiteX6" fmla="*/ 1655214 w 1655214"/>
              <a:gd name="connsiteY6" fmla="*/ 6374003 h 6465443"/>
              <a:gd name="connsiteX7" fmla="*/ 0 w 1655214"/>
              <a:gd name="connsiteY7" fmla="*/ 6374003 h 6465443"/>
              <a:gd name="connsiteX8" fmla="*/ 91440 w 1655214"/>
              <a:gd name="connsiteY8" fmla="*/ 6465443 h 646544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 name="connsiteX7" fmla="*/ 0 w 1655214"/>
              <a:gd name="connsiteY7" fmla="*/ 6374003 h 637400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214" h="6374003">
                <a:moveTo>
                  <a:pt x="0" y="6374003"/>
                </a:moveTo>
                <a:lnTo>
                  <a:pt x="0" y="275875"/>
                </a:lnTo>
                <a:cubicBezTo>
                  <a:pt x="0" y="123513"/>
                  <a:pt x="123513" y="0"/>
                  <a:pt x="275875" y="0"/>
                </a:cubicBezTo>
                <a:lnTo>
                  <a:pt x="1379339" y="0"/>
                </a:lnTo>
                <a:cubicBezTo>
                  <a:pt x="1531701" y="0"/>
                  <a:pt x="1655214" y="123513"/>
                  <a:pt x="1655214" y="275875"/>
                </a:cubicBezTo>
                <a:lnTo>
                  <a:pt x="1655214" y="6374003"/>
                </a:lnTo>
                <a:lnTo>
                  <a:pt x="1655214" y="6374003"/>
                </a:lnTo>
              </a:path>
            </a:pathLst>
          </a:custGeom>
          <a:solidFill>
            <a:srgbClr val="B5CEBD">
              <a:alpha val="50000"/>
            </a:srgbClr>
          </a:solidFill>
          <a:ln w="12700" cap="flat" cmpd="sng" algn="ctr">
            <a:solidFill>
              <a:srgbClr val="0058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graphicFrame>
        <p:nvGraphicFramePr>
          <p:cNvPr id="32" name="think-cell data - do not delete" hidden="1">
            <a:extLst>
              <a:ext uri="{FF2B5EF4-FFF2-40B4-BE49-F238E27FC236}">
                <a16:creationId xmlns:a16="http://schemas.microsoft.com/office/drawing/2014/main" id="{F8AD0934-BC36-8F2E-F7BF-854E93D0A59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2" name="think-cell data - do not delete" hidden="1">
                        <a:extLst>
                          <a:ext uri="{FF2B5EF4-FFF2-40B4-BE49-F238E27FC236}">
                            <a16:creationId xmlns:a16="http://schemas.microsoft.com/office/drawing/2014/main" id="{F8AD0934-BC36-8F2E-F7BF-854E93D0A5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Pladsholder til slidenummer 4">
            <a:extLst>
              <a:ext uri="{FF2B5EF4-FFF2-40B4-BE49-F238E27FC236}">
                <a16:creationId xmlns:a16="http://schemas.microsoft.com/office/drawing/2014/main" id="{EE4623CE-4FF4-2041-0C13-8D14AFE5DBBC}"/>
              </a:ext>
            </a:extLst>
          </p:cNvPr>
          <p:cNvSpPr>
            <a:spLocks noGrp="1"/>
          </p:cNvSpPr>
          <p:nvPr>
            <p:ph type="sldNum" sz="quarter" idx="12"/>
          </p:nvPr>
        </p:nvSpPr>
        <p:spPr/>
        <p:txBody>
          <a:bodyPr/>
          <a:lstStyle/>
          <a:p>
            <a:fld id="{D1CF6110-3358-3240-B3E6-2B2529506D05}" type="slidenum">
              <a:rPr lang="da-DK" smtClean="0"/>
              <a:t>8</a:t>
            </a:fld>
            <a:endParaRPr lang="da-DK"/>
          </a:p>
        </p:txBody>
      </p:sp>
      <p:sp>
        <p:nvSpPr>
          <p:cNvPr id="4" name="Rektangel 15">
            <a:extLst>
              <a:ext uri="{FF2B5EF4-FFF2-40B4-BE49-F238E27FC236}">
                <a16:creationId xmlns:a16="http://schemas.microsoft.com/office/drawing/2014/main" id="{625BE67A-8743-B0B9-5522-877C4653BF16}"/>
              </a:ext>
            </a:extLst>
          </p:cNvPr>
          <p:cNvSpPr/>
          <p:nvPr/>
        </p:nvSpPr>
        <p:spPr>
          <a:xfrm>
            <a:off x="578069" y="2252842"/>
            <a:ext cx="6222911" cy="3361280"/>
          </a:xfrm>
          <a:prstGeom prst="rect">
            <a:avLst/>
          </a:prstGeom>
          <a:noFill/>
          <a:ln w="12700">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 dette afsnit kan I beskrive: </a:t>
            </a:r>
          </a:p>
          <a:p>
            <a:endPar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dirty="0">
                <a:solidFill>
                  <a:schemeClr val="tx1"/>
                </a:solidFill>
                <a:latin typeface="Verdana" panose="020B0604030504040204" pitchFamily="34" charset="0"/>
                <a:ea typeface="Verdana" panose="020B0604030504040204" pitchFamily="34" charset="0"/>
                <a:cs typeface="Verdana" panose="020B0604030504040204" pitchFamily="34" charset="0"/>
              </a:rPr>
              <a:t>Ledelsesstruktur: </a:t>
            </a:r>
            <a:r>
              <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Organisationsdiagram, direktion, bestyrelse (evt. samarbejde med administrationsorganisation) </a:t>
            </a:r>
          </a:p>
          <a:p>
            <a:pPr marL="171450" indent="-171450">
              <a:buFont typeface="Arial" panose="020B0604020202020204" pitchFamily="34" charset="0"/>
              <a:buChar char="•"/>
            </a:pPr>
            <a:endPar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dirty="0">
                <a:solidFill>
                  <a:schemeClr val="tx1"/>
                </a:solidFill>
                <a:latin typeface="Verdana" panose="020B0604030504040204" pitchFamily="34" charset="0"/>
                <a:ea typeface="Verdana" panose="020B0604030504040204" pitchFamily="34" charset="0"/>
                <a:cs typeface="Verdana" panose="020B0604030504040204" pitchFamily="34" charset="0"/>
              </a:rPr>
              <a:t>Governance: </a:t>
            </a:r>
            <a:r>
              <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Hvem har hvilke ansvarsområder i ESG</a:t>
            </a:r>
          </a:p>
          <a:p>
            <a:pPr marL="171450" indent="-171450">
              <a:buFont typeface="Arial" panose="020B0604020202020204" pitchFamily="34" charset="0"/>
              <a:buChar char="•"/>
            </a:pPr>
            <a:endParaRPr lang="da-DK" sz="1100" b="1"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dirty="0">
                <a:solidFill>
                  <a:schemeClr val="tx1"/>
                </a:solidFill>
                <a:latin typeface="Verdana" panose="020B0604030504040204" pitchFamily="34" charset="0"/>
                <a:ea typeface="Verdana" panose="020B0604030504040204" pitchFamily="34" charset="0"/>
                <a:cs typeface="Verdana" panose="020B0604030504040204" pitchFamily="34" charset="0"/>
              </a:rPr>
              <a:t>Antal ansatte: </a:t>
            </a:r>
            <a:r>
              <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vt. opdelt på administration og drift) </a:t>
            </a:r>
          </a:p>
          <a:p>
            <a:pPr marL="171450" indent="-171450">
              <a:buFont typeface="Arial" panose="020B0604020202020204" pitchFamily="34" charset="0"/>
              <a:buChar char="•"/>
            </a:pPr>
            <a:endParaRPr lang="da-DK" sz="1100" b="1" i="1" kern="100" dirty="0">
              <a:solidFill>
                <a:srgbClr val="005850"/>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dirty="0">
                <a:solidFill>
                  <a:schemeClr val="tx1"/>
                </a:solidFill>
                <a:latin typeface="Verdana" panose="020B0604030504040204" pitchFamily="34" charset="0"/>
                <a:ea typeface="Verdana" panose="020B0604030504040204" pitchFamily="34" charset="0"/>
                <a:cs typeface="Verdana" panose="020B0604030504040204" pitchFamily="34" charset="0"/>
              </a:rPr>
              <a:t>Demokrati &amp; beboerinddragelse: </a:t>
            </a:r>
            <a:r>
              <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Beskrivelse af beboerdemokratiet og bestyrelsens rolle, organisationsbestyrelsens sammensætning, evt. beboerdemokratipolitik (hvordan beboere har indflydelse), samt hvor mange afdelingsbestyrelser I har.</a:t>
            </a:r>
          </a:p>
          <a:p>
            <a:pPr marL="171450" indent="-171450">
              <a:buFont typeface="Arial" panose="020B0604020202020204" pitchFamily="34" charset="0"/>
              <a:buChar char="•"/>
            </a:pPr>
            <a:endParaRPr lang="da-DK" sz="1100" b="1" i="1" kern="100" dirty="0">
              <a:solidFill>
                <a:srgbClr val="005850"/>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dirty="0">
                <a:solidFill>
                  <a:schemeClr val="tx1"/>
                </a:solidFill>
                <a:latin typeface="Verdana" panose="020B0604030504040204" pitchFamily="34" charset="0"/>
                <a:ea typeface="Verdana" panose="020B0604030504040204" pitchFamily="34" charset="0"/>
                <a:cs typeface="Verdana" panose="020B0604030504040204" pitchFamily="34" charset="0"/>
              </a:rPr>
              <a:t>Interessenter: </a:t>
            </a:r>
            <a:r>
              <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Vigtige interessenter i jeres arbejde for at nå jeres mål. </a:t>
            </a:r>
          </a:p>
          <a:p>
            <a:endPar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endPar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lvl="0"/>
            <a:endParaRPr lang="da-DK" sz="1100" i="1" kern="1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el 1">
            <a:extLst>
              <a:ext uri="{FF2B5EF4-FFF2-40B4-BE49-F238E27FC236}">
                <a16:creationId xmlns:a16="http://schemas.microsoft.com/office/drawing/2014/main" id="{CDD246D3-98EF-1988-AD8F-C85E19794C8E}"/>
              </a:ext>
            </a:extLst>
          </p:cNvPr>
          <p:cNvSpPr>
            <a:spLocks noGrp="1"/>
          </p:cNvSpPr>
          <p:nvPr>
            <p:ph type="title"/>
          </p:nvPr>
        </p:nvSpPr>
        <p:spPr>
          <a:xfrm>
            <a:off x="578069" y="654269"/>
            <a:ext cx="10515600" cy="831467"/>
          </a:xfrm>
        </p:spPr>
        <p:txBody>
          <a:bodyPr vert="horz">
            <a:normAutofit/>
          </a:bodyPr>
          <a:lstStyle/>
          <a:p>
            <a:pPr>
              <a:lnSpc>
                <a:spcPct val="107000"/>
              </a:lnSpc>
              <a:spcBef>
                <a:spcPts val="1800"/>
              </a:spcBef>
              <a:spcAft>
                <a:spcPts val="400"/>
              </a:spcAft>
            </a:pPr>
            <a:r>
              <a:rPr lang="da-DK" sz="4000" kern="100">
                <a:solidFill>
                  <a:srgbClr val="005850"/>
                </a:solidFill>
                <a:latin typeface="Verdana" panose="020B0604030504040204" pitchFamily="34" charset="0"/>
                <a:ea typeface="Verdana" panose="020B0604030504040204" pitchFamily="34" charset="0"/>
                <a:cs typeface="Times New Roman" panose="02020603050405020304" pitchFamily="18" charset="0"/>
              </a:rPr>
              <a:t>Om [Boligorganisations] ledelse</a:t>
            </a:r>
            <a:endParaRPr lang="da-DK" sz="5400" kern="100">
              <a:solidFill>
                <a:srgbClr val="005850"/>
              </a:solidFill>
              <a:latin typeface="Verdana" panose="020B0604030504040204" pitchFamily="34" charset="0"/>
              <a:ea typeface="Verdana" panose="020B0604030504040204" pitchFamily="34" charset="0"/>
              <a:cs typeface="Times New Roman" panose="02020603050405020304" pitchFamily="18" charset="0"/>
            </a:endParaRPr>
          </a:p>
        </p:txBody>
      </p:sp>
      <p:sp>
        <p:nvSpPr>
          <p:cNvPr id="11" name="Rectangle: Rounded Corners 3">
            <a:extLst>
              <a:ext uri="{FF2B5EF4-FFF2-40B4-BE49-F238E27FC236}">
                <a16:creationId xmlns:a16="http://schemas.microsoft.com/office/drawing/2014/main" id="{D6F528BC-9B8B-7560-18CC-304770CEB1A0}"/>
              </a:ext>
            </a:extLst>
          </p:cNvPr>
          <p:cNvSpPr/>
          <p:nvPr/>
        </p:nvSpPr>
        <p:spPr>
          <a:xfrm>
            <a:off x="7362063" y="2119951"/>
            <a:ext cx="4290022" cy="3918228"/>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290022"/>
                      <a:gd name="connsiteY0" fmla="*/ 0 h 3918231"/>
                      <a:gd name="connsiteX1" fmla="*/ 0 w 4290022"/>
                      <a:gd name="connsiteY1" fmla="*/ 0 h 3918231"/>
                      <a:gd name="connsiteX2" fmla="*/ 655761 w 4290022"/>
                      <a:gd name="connsiteY2" fmla="*/ 0 h 3918231"/>
                      <a:gd name="connsiteX3" fmla="*/ 1139920 w 4290022"/>
                      <a:gd name="connsiteY3" fmla="*/ 0 h 3918231"/>
                      <a:gd name="connsiteX4" fmla="*/ 1709880 w 4290022"/>
                      <a:gd name="connsiteY4" fmla="*/ 0 h 3918231"/>
                      <a:gd name="connsiteX5" fmla="*/ 2408541 w 4290022"/>
                      <a:gd name="connsiteY5" fmla="*/ 0 h 3918231"/>
                      <a:gd name="connsiteX6" fmla="*/ 3021401 w 4290022"/>
                      <a:gd name="connsiteY6" fmla="*/ 0 h 3918231"/>
                      <a:gd name="connsiteX7" fmla="*/ 3677162 w 4290022"/>
                      <a:gd name="connsiteY7" fmla="*/ 0 h 3918231"/>
                      <a:gd name="connsiteX8" fmla="*/ 4290022 w 4290022"/>
                      <a:gd name="connsiteY8" fmla="*/ 0 h 3918231"/>
                      <a:gd name="connsiteX9" fmla="*/ 4290022 w 4290022"/>
                      <a:gd name="connsiteY9" fmla="*/ 0 h 3918231"/>
                      <a:gd name="connsiteX10" fmla="*/ 4290022 w 4290022"/>
                      <a:gd name="connsiteY10" fmla="*/ 653039 h 3918231"/>
                      <a:gd name="connsiteX11" fmla="*/ 4290022 w 4290022"/>
                      <a:gd name="connsiteY11" fmla="*/ 1345259 h 3918231"/>
                      <a:gd name="connsiteX12" fmla="*/ 4290022 w 4290022"/>
                      <a:gd name="connsiteY12" fmla="*/ 1919933 h 3918231"/>
                      <a:gd name="connsiteX13" fmla="*/ 4290022 w 4290022"/>
                      <a:gd name="connsiteY13" fmla="*/ 2455425 h 3918231"/>
                      <a:gd name="connsiteX14" fmla="*/ 4290022 w 4290022"/>
                      <a:gd name="connsiteY14" fmla="*/ 3030099 h 3918231"/>
                      <a:gd name="connsiteX15" fmla="*/ 4290022 w 4290022"/>
                      <a:gd name="connsiteY15" fmla="*/ 3918231 h 3918231"/>
                      <a:gd name="connsiteX16" fmla="*/ 4290022 w 4290022"/>
                      <a:gd name="connsiteY16" fmla="*/ 3918231 h 3918231"/>
                      <a:gd name="connsiteX17" fmla="*/ 3677162 w 4290022"/>
                      <a:gd name="connsiteY17" fmla="*/ 3918231 h 3918231"/>
                      <a:gd name="connsiteX18" fmla="*/ 3064301 w 4290022"/>
                      <a:gd name="connsiteY18" fmla="*/ 3918231 h 3918231"/>
                      <a:gd name="connsiteX19" fmla="*/ 2537242 w 4290022"/>
                      <a:gd name="connsiteY19" fmla="*/ 3918231 h 3918231"/>
                      <a:gd name="connsiteX20" fmla="*/ 1924381 w 4290022"/>
                      <a:gd name="connsiteY20" fmla="*/ 3918231 h 3918231"/>
                      <a:gd name="connsiteX21" fmla="*/ 1311521 w 4290022"/>
                      <a:gd name="connsiteY21" fmla="*/ 3918231 h 3918231"/>
                      <a:gd name="connsiteX22" fmla="*/ 698661 w 4290022"/>
                      <a:gd name="connsiteY22" fmla="*/ 3918231 h 3918231"/>
                      <a:gd name="connsiteX23" fmla="*/ 0 w 4290022"/>
                      <a:gd name="connsiteY23" fmla="*/ 3918231 h 3918231"/>
                      <a:gd name="connsiteX24" fmla="*/ 0 w 4290022"/>
                      <a:gd name="connsiteY24" fmla="*/ 3918231 h 3918231"/>
                      <a:gd name="connsiteX25" fmla="*/ 0 w 4290022"/>
                      <a:gd name="connsiteY25" fmla="*/ 3304375 h 3918231"/>
                      <a:gd name="connsiteX26" fmla="*/ 0 w 4290022"/>
                      <a:gd name="connsiteY26" fmla="*/ 2651336 h 3918231"/>
                      <a:gd name="connsiteX27" fmla="*/ 0 w 4290022"/>
                      <a:gd name="connsiteY27" fmla="*/ 1959116 h 3918231"/>
                      <a:gd name="connsiteX28" fmla="*/ 0 w 4290022"/>
                      <a:gd name="connsiteY28" fmla="*/ 1266895 h 3918231"/>
                      <a:gd name="connsiteX29" fmla="*/ 0 w 4290022"/>
                      <a:gd name="connsiteY29" fmla="*/ 574674 h 3918231"/>
                      <a:gd name="connsiteX30" fmla="*/ 0 w 4290022"/>
                      <a:gd name="connsiteY30" fmla="*/ 0 h 3918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290022" h="3918231" fill="none" extrusionOk="0">
                        <a:moveTo>
                          <a:pt x="0" y="0"/>
                        </a:moveTo>
                        <a:lnTo>
                          <a:pt x="0" y="0"/>
                        </a:lnTo>
                        <a:cubicBezTo>
                          <a:pt x="211793" y="-27999"/>
                          <a:pt x="376562" y="19006"/>
                          <a:pt x="655761" y="0"/>
                        </a:cubicBezTo>
                        <a:cubicBezTo>
                          <a:pt x="934960" y="-19006"/>
                          <a:pt x="1015742" y="-19895"/>
                          <a:pt x="1139920" y="0"/>
                        </a:cubicBezTo>
                        <a:cubicBezTo>
                          <a:pt x="1264098" y="19895"/>
                          <a:pt x="1470368" y="16564"/>
                          <a:pt x="1709880" y="0"/>
                        </a:cubicBezTo>
                        <a:cubicBezTo>
                          <a:pt x="1949392" y="-16564"/>
                          <a:pt x="2077740" y="29310"/>
                          <a:pt x="2408541" y="0"/>
                        </a:cubicBezTo>
                        <a:cubicBezTo>
                          <a:pt x="2739342" y="-29310"/>
                          <a:pt x="2794060" y="8725"/>
                          <a:pt x="3021401" y="0"/>
                        </a:cubicBezTo>
                        <a:cubicBezTo>
                          <a:pt x="3248742" y="-8725"/>
                          <a:pt x="3536425" y="29321"/>
                          <a:pt x="3677162" y="0"/>
                        </a:cubicBezTo>
                        <a:cubicBezTo>
                          <a:pt x="3817899" y="-29321"/>
                          <a:pt x="4058425" y="22019"/>
                          <a:pt x="4290022" y="0"/>
                        </a:cubicBezTo>
                        <a:lnTo>
                          <a:pt x="4290022" y="0"/>
                        </a:lnTo>
                        <a:cubicBezTo>
                          <a:pt x="4286699" y="182280"/>
                          <a:pt x="4318353" y="335226"/>
                          <a:pt x="4290022" y="653039"/>
                        </a:cubicBezTo>
                        <a:cubicBezTo>
                          <a:pt x="4261691" y="970852"/>
                          <a:pt x="4289126" y="1094298"/>
                          <a:pt x="4290022" y="1345259"/>
                        </a:cubicBezTo>
                        <a:cubicBezTo>
                          <a:pt x="4290918" y="1596220"/>
                          <a:pt x="4266763" y="1670321"/>
                          <a:pt x="4290022" y="1919933"/>
                        </a:cubicBezTo>
                        <a:cubicBezTo>
                          <a:pt x="4313281" y="2169545"/>
                          <a:pt x="4285063" y="2292491"/>
                          <a:pt x="4290022" y="2455425"/>
                        </a:cubicBezTo>
                        <a:cubicBezTo>
                          <a:pt x="4294981" y="2618359"/>
                          <a:pt x="4292257" y="2808393"/>
                          <a:pt x="4290022" y="3030099"/>
                        </a:cubicBezTo>
                        <a:cubicBezTo>
                          <a:pt x="4287787" y="3251805"/>
                          <a:pt x="4321892" y="3732383"/>
                          <a:pt x="4290022" y="3918231"/>
                        </a:cubicBezTo>
                        <a:lnTo>
                          <a:pt x="4290022" y="3918231"/>
                        </a:lnTo>
                        <a:cubicBezTo>
                          <a:pt x="4145999" y="3942448"/>
                          <a:pt x="3946372" y="3939550"/>
                          <a:pt x="3677162" y="3918231"/>
                        </a:cubicBezTo>
                        <a:cubicBezTo>
                          <a:pt x="3407952" y="3896912"/>
                          <a:pt x="3257523" y="3910860"/>
                          <a:pt x="3064301" y="3918231"/>
                        </a:cubicBezTo>
                        <a:cubicBezTo>
                          <a:pt x="2871079" y="3925602"/>
                          <a:pt x="2694766" y="3923831"/>
                          <a:pt x="2537242" y="3918231"/>
                        </a:cubicBezTo>
                        <a:cubicBezTo>
                          <a:pt x="2379718" y="3912631"/>
                          <a:pt x="2154588" y="3945832"/>
                          <a:pt x="1924381" y="3918231"/>
                        </a:cubicBezTo>
                        <a:cubicBezTo>
                          <a:pt x="1694174" y="3890630"/>
                          <a:pt x="1544094" y="3893591"/>
                          <a:pt x="1311521" y="3918231"/>
                        </a:cubicBezTo>
                        <a:cubicBezTo>
                          <a:pt x="1078948" y="3942871"/>
                          <a:pt x="884160" y="3931045"/>
                          <a:pt x="698661" y="3918231"/>
                        </a:cubicBezTo>
                        <a:cubicBezTo>
                          <a:pt x="513162" y="3905417"/>
                          <a:pt x="146698" y="3892903"/>
                          <a:pt x="0" y="3918231"/>
                        </a:cubicBezTo>
                        <a:lnTo>
                          <a:pt x="0" y="3918231"/>
                        </a:lnTo>
                        <a:cubicBezTo>
                          <a:pt x="6407" y="3640297"/>
                          <a:pt x="10883" y="3520324"/>
                          <a:pt x="0" y="3304375"/>
                        </a:cubicBezTo>
                        <a:cubicBezTo>
                          <a:pt x="-10883" y="3088426"/>
                          <a:pt x="-25305" y="2941074"/>
                          <a:pt x="0" y="2651336"/>
                        </a:cubicBezTo>
                        <a:cubicBezTo>
                          <a:pt x="25305" y="2361598"/>
                          <a:pt x="-19534" y="2164000"/>
                          <a:pt x="0" y="1959116"/>
                        </a:cubicBezTo>
                        <a:cubicBezTo>
                          <a:pt x="19534" y="1754232"/>
                          <a:pt x="14492" y="1467496"/>
                          <a:pt x="0" y="1266895"/>
                        </a:cubicBezTo>
                        <a:cubicBezTo>
                          <a:pt x="-14492" y="1066294"/>
                          <a:pt x="17984" y="832441"/>
                          <a:pt x="0" y="574674"/>
                        </a:cubicBezTo>
                        <a:cubicBezTo>
                          <a:pt x="-17984" y="316907"/>
                          <a:pt x="-16659" y="164076"/>
                          <a:pt x="0" y="0"/>
                        </a:cubicBezTo>
                        <a:close/>
                      </a:path>
                      <a:path w="4290022" h="3918231" stroke="0" extrusionOk="0">
                        <a:moveTo>
                          <a:pt x="0" y="0"/>
                        </a:moveTo>
                        <a:lnTo>
                          <a:pt x="0" y="0"/>
                        </a:lnTo>
                        <a:cubicBezTo>
                          <a:pt x="155904" y="22473"/>
                          <a:pt x="391096" y="2169"/>
                          <a:pt x="569960" y="0"/>
                        </a:cubicBezTo>
                        <a:cubicBezTo>
                          <a:pt x="748824" y="-2169"/>
                          <a:pt x="823370" y="15689"/>
                          <a:pt x="1054120" y="0"/>
                        </a:cubicBezTo>
                        <a:cubicBezTo>
                          <a:pt x="1284870" y="-15689"/>
                          <a:pt x="1417353" y="-3184"/>
                          <a:pt x="1752780" y="0"/>
                        </a:cubicBezTo>
                        <a:cubicBezTo>
                          <a:pt x="2088207" y="3184"/>
                          <a:pt x="2097117" y="3063"/>
                          <a:pt x="2322740" y="0"/>
                        </a:cubicBezTo>
                        <a:cubicBezTo>
                          <a:pt x="2548363" y="-3063"/>
                          <a:pt x="2666152" y="-16163"/>
                          <a:pt x="2892701" y="0"/>
                        </a:cubicBezTo>
                        <a:cubicBezTo>
                          <a:pt x="3119250" y="16163"/>
                          <a:pt x="3256315" y="-4874"/>
                          <a:pt x="3591361" y="0"/>
                        </a:cubicBezTo>
                        <a:cubicBezTo>
                          <a:pt x="3926407" y="4874"/>
                          <a:pt x="4001160" y="17541"/>
                          <a:pt x="4290022" y="0"/>
                        </a:cubicBezTo>
                        <a:lnTo>
                          <a:pt x="4290022" y="0"/>
                        </a:lnTo>
                        <a:cubicBezTo>
                          <a:pt x="4276774" y="249167"/>
                          <a:pt x="4282483" y="481659"/>
                          <a:pt x="4290022" y="731403"/>
                        </a:cubicBezTo>
                        <a:cubicBezTo>
                          <a:pt x="4297561" y="981147"/>
                          <a:pt x="4263509" y="1111055"/>
                          <a:pt x="4290022" y="1306077"/>
                        </a:cubicBezTo>
                        <a:cubicBezTo>
                          <a:pt x="4316535" y="1501099"/>
                          <a:pt x="4283994" y="1695300"/>
                          <a:pt x="4290022" y="1880751"/>
                        </a:cubicBezTo>
                        <a:cubicBezTo>
                          <a:pt x="4296050" y="2066202"/>
                          <a:pt x="4309181" y="2264218"/>
                          <a:pt x="4290022" y="2533789"/>
                        </a:cubicBezTo>
                        <a:cubicBezTo>
                          <a:pt x="4270863" y="2803360"/>
                          <a:pt x="4286939" y="3066601"/>
                          <a:pt x="4290022" y="3226010"/>
                        </a:cubicBezTo>
                        <a:cubicBezTo>
                          <a:pt x="4293105" y="3385419"/>
                          <a:pt x="4315407" y="3714155"/>
                          <a:pt x="4290022" y="3918231"/>
                        </a:cubicBezTo>
                        <a:lnTo>
                          <a:pt x="4290022" y="3918231"/>
                        </a:lnTo>
                        <a:cubicBezTo>
                          <a:pt x="4153279" y="3923009"/>
                          <a:pt x="3878169" y="3930313"/>
                          <a:pt x="3677162" y="3918231"/>
                        </a:cubicBezTo>
                        <a:cubicBezTo>
                          <a:pt x="3476155" y="3906149"/>
                          <a:pt x="3299214" y="3896023"/>
                          <a:pt x="3150102" y="3918231"/>
                        </a:cubicBezTo>
                        <a:cubicBezTo>
                          <a:pt x="3000990" y="3940439"/>
                          <a:pt x="2786221" y="3925801"/>
                          <a:pt x="2537242" y="3918231"/>
                        </a:cubicBezTo>
                        <a:cubicBezTo>
                          <a:pt x="2288263" y="3910661"/>
                          <a:pt x="2159398" y="3921382"/>
                          <a:pt x="1838581" y="3918231"/>
                        </a:cubicBezTo>
                        <a:cubicBezTo>
                          <a:pt x="1517764" y="3915080"/>
                          <a:pt x="1447081" y="3920822"/>
                          <a:pt x="1225721" y="3918231"/>
                        </a:cubicBezTo>
                        <a:cubicBezTo>
                          <a:pt x="1004361" y="3915640"/>
                          <a:pt x="973366" y="3909892"/>
                          <a:pt x="741561" y="3918231"/>
                        </a:cubicBezTo>
                        <a:cubicBezTo>
                          <a:pt x="509756" y="3926570"/>
                          <a:pt x="240918" y="3949669"/>
                          <a:pt x="0" y="3918231"/>
                        </a:cubicBezTo>
                        <a:lnTo>
                          <a:pt x="0" y="3918231"/>
                        </a:lnTo>
                        <a:cubicBezTo>
                          <a:pt x="-28888" y="3652967"/>
                          <a:pt x="30536" y="3385195"/>
                          <a:pt x="0" y="3186828"/>
                        </a:cubicBezTo>
                        <a:cubicBezTo>
                          <a:pt x="-30536" y="2988461"/>
                          <a:pt x="4861" y="2683536"/>
                          <a:pt x="0" y="2455425"/>
                        </a:cubicBezTo>
                        <a:cubicBezTo>
                          <a:pt x="-4861" y="2227314"/>
                          <a:pt x="-13186" y="1942410"/>
                          <a:pt x="0" y="1802386"/>
                        </a:cubicBezTo>
                        <a:cubicBezTo>
                          <a:pt x="13186" y="1662362"/>
                          <a:pt x="-9701" y="1412359"/>
                          <a:pt x="0" y="1188530"/>
                        </a:cubicBezTo>
                        <a:cubicBezTo>
                          <a:pt x="9701" y="964701"/>
                          <a:pt x="11443" y="883303"/>
                          <a:pt x="0" y="653039"/>
                        </a:cubicBezTo>
                        <a:cubicBezTo>
                          <a:pt x="-11443" y="422775"/>
                          <a:pt x="12032" y="196761"/>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100" i="1" dirty="0">
                <a:solidFill>
                  <a:schemeClr val="bg1">
                    <a:lumMod val="65000"/>
                  </a:schemeClr>
                </a:solidFill>
                <a:latin typeface="Verdana" panose="020B0604030504040204" pitchFamily="34" charset="0"/>
                <a:ea typeface="Verdana" panose="020B0604030504040204" pitchFamily="34" charset="0"/>
              </a:rPr>
              <a:t>Indsæt evt. de primære interessenter </a:t>
            </a:r>
            <a:br>
              <a:rPr lang="da-DK" sz="1100" i="1" dirty="0">
                <a:solidFill>
                  <a:schemeClr val="bg1">
                    <a:lumMod val="65000"/>
                  </a:schemeClr>
                </a:solidFill>
                <a:latin typeface="Verdana" panose="020B0604030504040204" pitchFamily="34" charset="0"/>
                <a:ea typeface="Verdana" panose="020B0604030504040204" pitchFamily="34" charset="0"/>
              </a:rPr>
            </a:br>
            <a:r>
              <a:rPr lang="da-DK" sz="1100" i="1" dirty="0">
                <a:solidFill>
                  <a:schemeClr val="bg1">
                    <a:lumMod val="65000"/>
                  </a:schemeClr>
                </a:solidFill>
                <a:latin typeface="Verdana" panose="020B0604030504040204" pitchFamily="34" charset="0"/>
                <a:ea typeface="Verdana" panose="020B0604030504040204" pitchFamily="34" charset="0"/>
              </a:rPr>
              <a:t>eller et billede af jeres værdikæde.</a:t>
            </a:r>
          </a:p>
        </p:txBody>
      </p:sp>
    </p:spTree>
    <p:extLst>
      <p:ext uri="{BB962C8B-B14F-4D97-AF65-F5344CB8AC3E}">
        <p14:creationId xmlns:p14="http://schemas.microsoft.com/office/powerpoint/2010/main" val="36757895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FEED70D0-D200-CD9B-0723-2A6FD201174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E3EEB1-781A-9957-8925-EF46CF5C9D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5CE3EEB1-781A-9957-8925-EF46CF5C9D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F659B6-7B41-36B3-7D93-13D349B4E016}"/>
              </a:ext>
            </a:extLst>
          </p:cNvPr>
          <p:cNvSpPr>
            <a:spLocks noGrp="1"/>
          </p:cNvSpPr>
          <p:nvPr>
            <p:ph type="title"/>
          </p:nvPr>
        </p:nvSpPr>
        <p:spPr>
          <a:xfrm>
            <a:off x="578069" y="654269"/>
            <a:ext cx="10515600" cy="831467"/>
          </a:xfrm>
        </p:spPr>
        <p:txBody>
          <a:bodyPr vert="horz">
            <a:normAutofit fontScale="90000"/>
          </a:bodyPr>
          <a:lstStyle/>
          <a:p>
            <a:r>
              <a:rPr lang="da-DK" sz="4000" b="1" dirty="0">
                <a:solidFill>
                  <a:schemeClr val="bg1"/>
                </a:solidFill>
                <a:latin typeface="Verdana" panose="020B0604030504040204" pitchFamily="34" charset="0"/>
                <a:ea typeface="Verdana" panose="020B0604030504040204" pitchFamily="34" charset="0"/>
              </a:rPr>
              <a:t>Vores ESG-resultater &amp; målepunkter</a:t>
            </a:r>
          </a:p>
        </p:txBody>
      </p:sp>
      <p:sp>
        <p:nvSpPr>
          <p:cNvPr id="5" name="Pladsholder til slidenummer 4">
            <a:extLst>
              <a:ext uri="{FF2B5EF4-FFF2-40B4-BE49-F238E27FC236}">
                <a16:creationId xmlns:a16="http://schemas.microsoft.com/office/drawing/2014/main" id="{8730938B-487B-855A-55DF-37EF5EADB16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4" name="Tekstfelt 7">
            <a:extLst>
              <a:ext uri="{FF2B5EF4-FFF2-40B4-BE49-F238E27FC236}">
                <a16:creationId xmlns:a16="http://schemas.microsoft.com/office/drawing/2014/main" id="{CC576F0E-645C-7DEA-4871-6A0C81948962}"/>
              </a:ext>
            </a:extLst>
          </p:cNvPr>
          <p:cNvSpPr txBox="1"/>
          <p:nvPr/>
        </p:nvSpPr>
        <p:spPr>
          <a:xfrm>
            <a:off x="578069" y="4526605"/>
            <a:ext cx="2242503" cy="1677126"/>
          </a:xfrm>
          <a:prstGeom prst="rect">
            <a:avLst/>
          </a:prstGeom>
          <a:noFill/>
        </p:spPr>
        <p:txBody>
          <a:bodyPr wrap="square" rtlCol="0" anchor="b">
            <a:spAutoFit/>
          </a:bodyPr>
          <a:lstStyle/>
          <a:p>
            <a:pPr lvl="0">
              <a:lnSpc>
                <a:spcPct val="120000"/>
              </a:lnSpc>
            </a:pPr>
            <a:r>
              <a:rPr lang="da-DK" sz="9600" b="1" dirty="0">
                <a:solidFill>
                  <a:schemeClr val="bg1"/>
                </a:solidFill>
                <a:latin typeface="Verdana" panose="020B0604030504040204" pitchFamily="34" charset="0"/>
                <a:ea typeface="Verdana" panose="020B0604030504040204" pitchFamily="34" charset="0"/>
                <a:cs typeface="Verdana" panose="020B0604030504040204" pitchFamily="34" charset="0"/>
              </a:rPr>
              <a:t>03</a:t>
            </a:r>
          </a:p>
        </p:txBody>
      </p:sp>
      <p:sp>
        <p:nvSpPr>
          <p:cNvPr id="3" name="Rectangle: Rounded Corners 3">
            <a:extLst>
              <a:ext uri="{FF2B5EF4-FFF2-40B4-BE49-F238E27FC236}">
                <a16:creationId xmlns:a16="http://schemas.microsoft.com/office/drawing/2014/main" id="{2CD89E71-8754-809D-3D84-9C89E7E10D21}"/>
              </a:ext>
            </a:extLst>
          </p:cNvPr>
          <p:cNvSpPr/>
          <p:nvPr/>
        </p:nvSpPr>
        <p:spPr>
          <a:xfrm>
            <a:off x="285457" y="1070002"/>
            <a:ext cx="6173653" cy="1628428"/>
          </a:xfrm>
          <a:prstGeom prst="roundRect">
            <a:avLst>
              <a:gd name="adj" fmla="val 0"/>
            </a:avLst>
          </a:prstGeom>
          <a:noFill/>
          <a:ln w="12700">
            <a:no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t"/>
          <a:lstStyle/>
          <a:p>
            <a:endParaRPr lang="da-DK" sz="1200" b="1" dirty="0">
              <a:solidFill>
                <a:schemeClr val="bg1"/>
              </a:solidFill>
              <a:latin typeface="Verdana" panose="020B0604030504040204" pitchFamily="34" charset="0"/>
              <a:ea typeface="Verdana" panose="020B0604030504040204" pitchFamily="34" charset="0"/>
            </a:endParaRPr>
          </a:p>
          <a:p>
            <a:endParaRPr lang="da-DK" sz="1200" b="1" dirty="0">
              <a:solidFill>
                <a:schemeClr val="bg1"/>
              </a:solidFill>
              <a:latin typeface="Verdana" panose="020B0604030504040204" pitchFamily="34" charset="0"/>
              <a:ea typeface="Verdana" panose="020B0604030504040204" pitchFamily="34" charset="0"/>
            </a:endParaRPr>
          </a:p>
          <a:p>
            <a:r>
              <a:rPr lang="da-DK" sz="1200" b="1" dirty="0">
                <a:solidFill>
                  <a:schemeClr val="bg1"/>
                </a:solidFill>
                <a:latin typeface="Verdana" panose="020B0604030504040204" pitchFamily="34" charset="0"/>
                <a:ea typeface="Verdana" panose="020B0604030504040204" pitchFamily="34" charset="0"/>
              </a:rPr>
              <a:t>I dette afsnit vil du få et indblik i vores udvalgte ESG-resultater og </a:t>
            </a:r>
            <a:br>
              <a:rPr lang="da-DK" sz="1200" b="1" dirty="0">
                <a:solidFill>
                  <a:schemeClr val="bg1"/>
                </a:solidFill>
                <a:latin typeface="Verdana" panose="020B0604030504040204" pitchFamily="34" charset="0"/>
                <a:ea typeface="Verdana" panose="020B0604030504040204" pitchFamily="34" charset="0"/>
              </a:rPr>
            </a:br>
            <a:r>
              <a:rPr lang="da-DK" sz="1200" b="1" dirty="0">
                <a:solidFill>
                  <a:schemeClr val="bg1"/>
                </a:solidFill>
                <a:latin typeface="Verdana" panose="020B0604030504040204" pitchFamily="34" charset="0"/>
                <a:ea typeface="Verdana" panose="020B0604030504040204" pitchFamily="34" charset="0"/>
              </a:rPr>
              <a:t>-målepunkter, samt indsatsen, fremgangen og udviklingen af vores tilgang. </a:t>
            </a:r>
          </a:p>
        </p:txBody>
      </p:sp>
    </p:spTree>
    <p:extLst>
      <p:ext uri="{BB962C8B-B14F-4D97-AF65-F5344CB8AC3E}">
        <p14:creationId xmlns:p14="http://schemas.microsoft.com/office/powerpoint/2010/main" val="2033022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8e21f3c-b20b-41e4-9fa9-33c4bbbe68ac" xsi:nil="true"/>
    <lcf76f155ced4ddcb4097134ff3c332f xmlns="07b48e10-c04f-417b-9474-e48ce6fea88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CB7D845375A7054B9D1190F5089F308E" ma:contentTypeVersion="16" ma:contentTypeDescription="Opret et nyt dokument." ma:contentTypeScope="" ma:versionID="b1fc8f65ee1949e64fc118069f4e0c74">
  <xsd:schema xmlns:xsd="http://www.w3.org/2001/XMLSchema" xmlns:xs="http://www.w3.org/2001/XMLSchema" xmlns:p="http://schemas.microsoft.com/office/2006/metadata/properties" xmlns:ns2="07b48e10-c04f-417b-9474-e48ce6fea886" xmlns:ns3="58e21f3c-b20b-41e4-9fa9-33c4bbbe68ac" targetNamespace="http://schemas.microsoft.com/office/2006/metadata/properties" ma:root="true" ma:fieldsID="a2378562081419e89795373e5e058a1c" ns2:_="" ns3:_="">
    <xsd:import namespace="07b48e10-c04f-417b-9474-e48ce6fea886"/>
    <xsd:import namespace="58e21f3c-b20b-41e4-9fa9-33c4bbbe68a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b48e10-c04f-417b-9474-e48ce6fea8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ledmærker" ma:readOnly="false" ma:fieldId="{5cf76f15-5ced-4ddc-b409-7134ff3c332f}" ma:taxonomyMulti="true" ma:sspId="567415f2-b293-4451-ac09-c97e906511d3"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8e21f3c-b20b-41e4-9fa9-33c4bbbe68ac" elementFormDefault="qualified">
    <xsd:import namespace="http://schemas.microsoft.com/office/2006/documentManagement/types"/>
    <xsd:import namespace="http://schemas.microsoft.com/office/infopath/2007/PartnerControls"/>
    <xsd:element name="SharedWithUsers" ma:index="11"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lt med detaljer" ma:internalName="SharedWithDetails" ma:readOnly="true">
      <xsd:simpleType>
        <xsd:restriction base="dms:Note">
          <xsd:maxLength value="255"/>
        </xsd:restriction>
      </xsd:simpleType>
    </xsd:element>
    <xsd:element name="TaxCatchAll" ma:index="16" nillable="true" ma:displayName="Taxonomy Catch All Column" ma:hidden="true" ma:list="{28eec7cd-60fc-43cb-b884-fabd96c89621}" ma:internalName="TaxCatchAll" ma:showField="CatchAllData" ma:web="58e21f3c-b20b-41e4-9fa9-33c4bbbe68a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30B50B5-FED3-4DA6-BA16-DDADCE1A9BE3}">
  <ds:schemaRefs>
    <ds:schemaRef ds:uri="http://schemas.microsoft.com/sharepoint/v3/contenttype/forms"/>
  </ds:schemaRefs>
</ds:datastoreItem>
</file>

<file path=customXml/itemProps2.xml><?xml version="1.0" encoding="utf-8"?>
<ds:datastoreItem xmlns:ds="http://schemas.openxmlformats.org/officeDocument/2006/customXml" ds:itemID="{FF04F95A-8180-4082-B01E-CE66C310F40A}">
  <ds:schemaRefs>
    <ds:schemaRef ds:uri="http://purl.org/dc/terms/"/>
    <ds:schemaRef ds:uri="http://schemas.openxmlformats.org/package/2006/metadata/core-properties"/>
    <ds:schemaRef ds:uri="http://schemas.microsoft.com/office/2006/documentManagement/types"/>
    <ds:schemaRef ds:uri="58e21f3c-b20b-41e4-9fa9-33c4bbbe68ac"/>
    <ds:schemaRef ds:uri="http://purl.org/dc/elements/1.1/"/>
    <ds:schemaRef ds:uri="http://schemas.microsoft.com/office/2006/metadata/properties"/>
    <ds:schemaRef ds:uri="http://schemas.microsoft.com/office/infopath/2007/PartnerControls"/>
    <ds:schemaRef ds:uri="07b48e10-c04f-417b-9474-e48ce6fea886"/>
    <ds:schemaRef ds:uri="http://www.w3.org/XML/1998/namespace"/>
    <ds:schemaRef ds:uri="http://purl.org/dc/dcmitype/"/>
  </ds:schemaRefs>
</ds:datastoreItem>
</file>

<file path=customXml/itemProps3.xml><?xml version="1.0" encoding="utf-8"?>
<ds:datastoreItem xmlns:ds="http://schemas.openxmlformats.org/officeDocument/2006/customXml" ds:itemID="{13E54AA3-3898-40F6-AE0F-CC1BDF9367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b48e10-c04f-417b-9474-e48ce6fea886"/>
    <ds:schemaRef ds:uri="58e21f3c-b20b-41e4-9fa9-33c4bbbe68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1e87e434-5779-42f9-b010-137c80c376f3}" enabled="1" method="Privileged" siteId="{9395c127-4642-416e-8d2d-69e01e31c0d5}" contentBits="0" removed="0"/>
</clbl:labelList>
</file>

<file path=docProps/app.xml><?xml version="1.0" encoding="utf-8"?>
<Properties xmlns="http://schemas.openxmlformats.org/officeDocument/2006/extended-properties" xmlns:vt="http://schemas.openxmlformats.org/officeDocument/2006/docPropsVTypes">
  <TotalTime>10</TotalTime>
  <Words>3377</Words>
  <Application>Microsoft Office PowerPoint</Application>
  <PresentationFormat>Widescreen</PresentationFormat>
  <Paragraphs>698</Paragraphs>
  <Slides>32</Slides>
  <Notes>13</Notes>
  <HiddenSlides>0</HiddenSlides>
  <MMClips>0</MMClips>
  <ScaleCrop>false</ScaleCrop>
  <HeadingPairs>
    <vt:vector size="8" baseType="variant">
      <vt:variant>
        <vt:lpstr>Benyttede skrifttyper</vt:lpstr>
      </vt:variant>
      <vt:variant>
        <vt:i4>8</vt:i4>
      </vt:variant>
      <vt:variant>
        <vt:lpstr>Tema</vt:lpstr>
      </vt:variant>
      <vt:variant>
        <vt:i4>1</vt:i4>
      </vt:variant>
      <vt:variant>
        <vt:lpstr>Integrerede OLE-servere</vt:lpstr>
      </vt:variant>
      <vt:variant>
        <vt:i4>1</vt:i4>
      </vt:variant>
      <vt:variant>
        <vt:lpstr>Slidetitler</vt:lpstr>
      </vt:variant>
      <vt:variant>
        <vt:i4>32</vt:i4>
      </vt:variant>
    </vt:vector>
  </HeadingPairs>
  <TitlesOfParts>
    <vt:vector size="42" baseType="lpstr">
      <vt:lpstr>Aptos</vt:lpstr>
      <vt:lpstr>Aptos Display</vt:lpstr>
      <vt:lpstr>Arial</vt:lpstr>
      <vt:lpstr>Arial,Sans-Serif</vt:lpstr>
      <vt:lpstr>DM Sans</vt:lpstr>
      <vt:lpstr>DM Sans 14pt</vt:lpstr>
      <vt:lpstr>Symbol</vt:lpstr>
      <vt:lpstr>Verdana</vt:lpstr>
      <vt:lpstr>Office-tema</vt:lpstr>
      <vt:lpstr>think-cell Slide</vt:lpstr>
      <vt:lpstr>PowerPoint-præsentation</vt:lpstr>
      <vt:lpstr>PowerPoint-præsentation</vt:lpstr>
      <vt:lpstr>Indhold</vt:lpstr>
      <vt:lpstr>Forord</vt:lpstr>
      <vt:lpstr>Forord fra ledelsen</vt:lpstr>
      <vt:lpstr>Om [bolig organisationens navn]</vt:lpstr>
      <vt:lpstr>PowerPoint-præsentation</vt:lpstr>
      <vt:lpstr>Om [Boligorganisations] ledelse</vt:lpstr>
      <vt:lpstr>Vores ESG-resultater &amp; målepunkter</vt:lpstr>
      <vt:lpstr>[Boligorganisations] prioriterede målepunkter</vt:lpstr>
      <vt:lpstr>Året der er gået</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Alle ESG-nøgletal</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ulie Plesner Thomsen</dc:creator>
  <cp:lastModifiedBy>Kasper Brøndum Andersen</cp:lastModifiedBy>
  <cp:revision>3</cp:revision>
  <dcterms:created xsi:type="dcterms:W3CDTF">2025-03-27T10:01:52Z</dcterms:created>
  <dcterms:modified xsi:type="dcterms:W3CDTF">2025-11-07T10:2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D845375A7054B9D1190F5089F308E</vt:lpwstr>
  </property>
  <property fmtid="{D5CDD505-2E9C-101B-9397-08002B2CF9AE}" pid="3" name="MediaServiceImageTags">
    <vt:lpwstr/>
  </property>
  <property fmtid="{D5CDD505-2E9C-101B-9397-08002B2CF9AE}" pid="4" name="MSIP_Label_20ea7001-5c24-4702-a3ac-e436ccb02747_Enabled">
    <vt:lpwstr>true</vt:lpwstr>
  </property>
  <property fmtid="{D5CDD505-2E9C-101B-9397-08002B2CF9AE}" pid="5" name="MSIP_Label_20ea7001-5c24-4702-a3ac-e436ccb02747_Name">
    <vt:lpwstr>Confidential</vt:lpwstr>
  </property>
  <property fmtid="{D5CDD505-2E9C-101B-9397-08002B2CF9AE}" pid="6" name="MSIP_Label_20ea7001-5c24-4702-a3ac-e436ccb02747_ContentBits">
    <vt:lpwstr>2</vt:lpwstr>
  </property>
  <property fmtid="{D5CDD505-2E9C-101B-9397-08002B2CF9AE}" pid="7" name="MSIP_Label_20ea7001-5c24-4702-a3ac-e436ccb02747_ActionId">
    <vt:lpwstr>d69915a9-2b59-4648-9731-ec607af3424e</vt:lpwstr>
  </property>
  <property fmtid="{D5CDD505-2E9C-101B-9397-08002B2CF9AE}" pid="8" name="MSIP_Label_20ea7001-5c24-4702-a3ac-e436ccb02747_SetDate">
    <vt:lpwstr>2025-08-28T08:39:44Z</vt:lpwstr>
  </property>
  <property fmtid="{D5CDD505-2E9C-101B-9397-08002B2CF9AE}" pid="9" name="MSIP_Label_20ea7001-5c24-4702-a3ac-e436ccb02747_Tag">
    <vt:lpwstr>10, 3, 0, 1</vt:lpwstr>
  </property>
  <property fmtid="{D5CDD505-2E9C-101B-9397-08002B2CF9AE}" pid="10" name="MSIP_Label_20ea7001-5c24-4702-a3ac-e436ccb02747_SiteId">
    <vt:lpwstr>c8823c91-be81-4f89-b024-6c3dd789c106</vt:lpwstr>
  </property>
  <property fmtid="{D5CDD505-2E9C-101B-9397-08002B2CF9AE}" pid="11" name="MSIP_Label_20ea7001-5c24-4702-a3ac-e436ccb02747_Method">
    <vt:lpwstr>Standard</vt:lpwstr>
  </property>
</Properties>
</file>